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s/slide144.xml" ContentType="application/vnd.openxmlformats-officedocument.presentationml.slide+xml"/>
  <Override PartName="/ppt/tags/tag504.xml" ContentType="application/vnd.openxmlformats-officedocument.presentationml.tags+xml"/>
  <Override PartName="/ppt/tags/tag509.xml" ContentType="application/vnd.openxmlformats-officedocument.presentationml.tags+xml"/>
  <Override PartName="/ppt/tags/tag517.xml" ContentType="application/vnd.openxmlformats-officedocument.presentationml.tags+xml"/>
  <Override PartName="/ppt/tags/tag494.xml" ContentType="application/vnd.openxmlformats-officedocument.presentationml.tags+xml"/>
  <Override PartName="/ppt/tags/tag512.xml" ContentType="application/vnd.openxmlformats-officedocument.presentationml.tags+xml"/>
  <Override PartName="/ppt/tags/tag498.xml" ContentType="application/vnd.openxmlformats-officedocument.presentationml.tags+xml"/>
  <Override PartName="/ppt/tags/tag503.xml" ContentType="application/vnd.openxmlformats-officedocument.presentationml.tags+xml"/>
  <Override PartName="/ppt/tags/tag508.xml" ContentType="application/vnd.openxmlformats-officedocument.presentationml.tags+xml"/>
  <Override PartName="/ppt/tags/tag516.xml" ContentType="application/vnd.openxmlformats-officedocument.presentationml.tags+xml"/>
  <Override PartName="/ppt/notesSlides/notesSlide144.xml" ContentType="application/vnd.openxmlformats-officedocument.presentationml.notesSlide+xml"/>
  <Override PartName="/ppt/tags/tag493.xml" ContentType="application/vnd.openxmlformats-officedocument.presentationml.tags+xml"/>
  <Override PartName="/ppt/tags/tag507.xml" ContentType="application/vnd.openxmlformats-officedocument.presentationml.tags+xml"/>
  <Override PartName="/ppt/tags/tag511.xml" ContentType="application/vnd.openxmlformats-officedocument.presentationml.tags+xml"/>
  <Override PartName="/ppt/tags/tag520.xml" ContentType="application/vnd.openxmlformats-officedocument.presentationml.tags+xml"/>
  <Override PartName="/ppt/tags/tag497.xml" ContentType="application/vnd.openxmlformats-officedocument.presentationml.tags+xml"/>
  <Override PartName="/ppt/tags/tag502.xml" ContentType="application/vnd.openxmlformats-officedocument.presentationml.tags+xml"/>
  <Override PartName="/ppt/tags/tag515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496.xml" ContentType="application/vnd.openxmlformats-officedocument.presentationml.tags+xml"/>
  <Override PartName="/ppt/tags/tag506.xml" ContentType="application/vnd.openxmlformats-officedocument.presentationml.tags+xml"/>
  <Override PartName="/ppt/tags/tag514.xml" ContentType="application/vnd.openxmlformats-officedocument.presentationml.tags+xml"/>
  <Override PartName="/ppt/tags/tag519.xml" ContentType="application/vnd.openxmlformats-officedocument.presentationml.tags+xml"/>
  <Override PartName="/ppt/tags/tag501.xml" ContentType="application/vnd.openxmlformats-officedocument.presentationml.tags+xml"/>
  <Override PartName="/ppt/tags/tag510.xml" ContentType="application/vnd.openxmlformats-officedocument.presentationml.tags+xml"/>
  <Override PartName="/ppt/tags/tag522.xml" ContentType="application/vnd.openxmlformats-officedocument.presentationml.tags+xml"/>
  <Override PartName="/ppt/tags/tag495.xml" ContentType="application/vnd.openxmlformats-officedocument.presentationml.tags+xml"/>
  <Override PartName="/ppt/tags/tag500.xml" ContentType="application/vnd.openxmlformats-officedocument.presentationml.tags+xml"/>
  <Override PartName="/ppt/tags/tag505.xml" ContentType="application/vnd.openxmlformats-officedocument.presentationml.tags+xml"/>
  <Override PartName="/ppt/tags/tag513.xml" ContentType="application/vnd.openxmlformats-officedocument.presentationml.tags+xml"/>
  <Override PartName="/ppt/tags/tag518.xml" ContentType="application/vnd.openxmlformats-officedocument.presentationml.tags+xml"/>
  <Override PartName="/ppt/tags/tag521.xml" ContentType="application/vnd.openxmlformats-officedocument.presentationml.tags+xml"/>
  <Override PartName="/ppt/tags/tag499.xml" ContentType="application/vnd.openxmlformats-officedocument.presentationml.tags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74" r:id="rId14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" Target="/ppt/slides/slide144.xml" Id="rId147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48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44.xml.rels>&#65279;<?xml version="1.0" encoding="utf-8"?><Relationships xmlns="http://schemas.openxmlformats.org/package/2006/relationships"><Relationship Type="http://schemas.openxmlformats.org/officeDocument/2006/relationships/slide" Target="/ppt/slides/slide144.xml" Id="rId2" /><Relationship Type="http://schemas.openxmlformats.org/officeDocument/2006/relationships/notesMaster" Target="/ppt/notesMasters/notesMaster1.xml" Id="rId1" /></Relationships>
</file>

<file path=ppt/notesSlides/notesSlide1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597254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44.xml.rels>&#65279;<?xml version="1.0" encoding="utf-8"?><Relationships xmlns="http://schemas.openxmlformats.org/package/2006/relationships"><Relationship Type="http://schemas.openxmlformats.org/officeDocument/2006/relationships/tags" Target="/ppt/tags/tag504.xml" Id="rId13" /><Relationship Type="http://schemas.openxmlformats.org/officeDocument/2006/relationships/tags" Target="/ppt/tags/tag509.xml" Id="rId18" /><Relationship Type="http://schemas.openxmlformats.org/officeDocument/2006/relationships/tags" Target="/ppt/tags/tag517.xml" Id="rId26" /><Relationship Type="http://schemas.openxmlformats.org/officeDocument/2006/relationships/tags" Target="/ppt/tags/tag494.xml" Id="rId3" /><Relationship Type="http://schemas.openxmlformats.org/officeDocument/2006/relationships/tags" Target="/ppt/tags/tag512.xml" Id="rId21" /><Relationship Type="http://schemas.openxmlformats.org/officeDocument/2006/relationships/oleObject" Target="/ppt/embeddings/oleObject148.bin" Id="rId34" /><Relationship Type="http://schemas.openxmlformats.org/officeDocument/2006/relationships/tags" Target="/ppt/tags/tag498.xml" Id="rId7" /><Relationship Type="http://schemas.openxmlformats.org/officeDocument/2006/relationships/tags" Target="/ppt/tags/tag503.xml" Id="rId12" /><Relationship Type="http://schemas.openxmlformats.org/officeDocument/2006/relationships/tags" Target="/ppt/tags/tag508.xml" Id="rId17" /><Relationship Type="http://schemas.openxmlformats.org/officeDocument/2006/relationships/tags" Target="/ppt/tags/tag516.xml" Id="rId25" /><Relationship Type="http://schemas.openxmlformats.org/officeDocument/2006/relationships/notesSlide" Target="/ppt/notesSlides/notesSlide144.xml" Id="rId33" /><Relationship Type="http://schemas.openxmlformats.org/officeDocument/2006/relationships/tags" Target="/ppt/tags/tag493.xml" Id="rId2" /><Relationship Type="http://schemas.openxmlformats.org/officeDocument/2006/relationships/tags" Target="/ppt/tags/tag507.xml" Id="rId16" /><Relationship Type="http://schemas.openxmlformats.org/officeDocument/2006/relationships/tags" Target="/ppt/tags/tag511.xml" Id="rId20" /><Relationship Type="http://schemas.openxmlformats.org/officeDocument/2006/relationships/tags" Target="/ppt/tags/tag520.xml" Id="rId29" /><Relationship Type="http://schemas.openxmlformats.org/officeDocument/2006/relationships/vmlDrawing" Target="/ppt/drawings/vmlDrawing148.vml" Id="rId1" /><Relationship Type="http://schemas.openxmlformats.org/officeDocument/2006/relationships/tags" Target="/ppt/tags/tag497.xml" Id="rId6" /><Relationship Type="http://schemas.openxmlformats.org/officeDocument/2006/relationships/tags" Target="/ppt/tags/tag502.xml" Id="rId11" /><Relationship Type="http://schemas.openxmlformats.org/officeDocument/2006/relationships/tags" Target="/ppt/tags/tag515.xml" Id="rId24" /><Relationship Type="http://schemas.openxmlformats.org/officeDocument/2006/relationships/slideLayout" Target="/ppt/slideLayouts/slideLayout5.xml" Id="rId32" /><Relationship Type="http://schemas.openxmlformats.org/officeDocument/2006/relationships/tags" Target="/ppt/tags/tag496.xml" Id="rId5" /><Relationship Type="http://schemas.openxmlformats.org/officeDocument/2006/relationships/tags" Target="/ppt/tags/tag506.xml" Id="rId15" /><Relationship Type="http://schemas.openxmlformats.org/officeDocument/2006/relationships/tags" Target="/ppt/tags/tag514.xml" Id="rId23" /><Relationship Type="http://schemas.openxmlformats.org/officeDocument/2006/relationships/tags" Target="/ppt/tags/tag519.xml" Id="rId28" /><Relationship Type="http://schemas.openxmlformats.org/officeDocument/2006/relationships/tags" Target="/ppt/tags/tag501.xml" Id="rId10" /><Relationship Type="http://schemas.openxmlformats.org/officeDocument/2006/relationships/tags" Target="/ppt/tags/tag510.xml" Id="rId19" /><Relationship Type="http://schemas.openxmlformats.org/officeDocument/2006/relationships/tags" Target="/ppt/tags/tag522.xml" Id="rId31" /><Relationship Type="http://schemas.openxmlformats.org/officeDocument/2006/relationships/tags" Target="/ppt/tags/tag495.xml" Id="rId4" /><Relationship Type="http://schemas.openxmlformats.org/officeDocument/2006/relationships/tags" Target="/ppt/tags/tag500.xml" Id="rId9" /><Relationship Type="http://schemas.openxmlformats.org/officeDocument/2006/relationships/tags" Target="/ppt/tags/tag505.xml" Id="rId14" /><Relationship Type="http://schemas.openxmlformats.org/officeDocument/2006/relationships/tags" Target="/ppt/tags/tag513.xml" Id="rId22" /><Relationship Type="http://schemas.openxmlformats.org/officeDocument/2006/relationships/tags" Target="/ppt/tags/tag518.xml" Id="rId27" /><Relationship Type="http://schemas.openxmlformats.org/officeDocument/2006/relationships/tags" Target="/ppt/tags/tag521.xml" Id="rId30" /><Relationship Type="http://schemas.openxmlformats.org/officeDocument/2006/relationships/image" Target="/ppt/media/image4.emf" Id="rId35" /><Relationship Type="http://schemas.openxmlformats.org/officeDocument/2006/relationships/tags" Target="/ppt/tags/tag499.xml" Id="rId8" /></Relationships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1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11" name="think-cell 幻灯片" r:id="rId34" imgW="349" imgH="350" progId="TCLayout.ActiveDocument.1">
                  <p:embed/>
                </p:oleObj>
              </mc:Choice>
              <mc:Fallback>
                <p:oleObj name="think-cell 幻灯片" r:id="rId3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Rechteck 67">
            <a:extLst>
              <a:ext uri="{FF2B5EF4-FFF2-40B4-BE49-F238E27FC236}">
                <a16:creationId xmlns:a16="http://schemas.microsoft.com/office/drawing/2014/main" id="{5813CE9F-0B49-1F36-9B57-E2A73DE65144}"/>
              </a:ext>
            </a:extLst>
          </p:cNvPr>
          <p:cNvSpPr>
            <a:spLocks/>
          </p:cNvSpPr>
          <p:nvPr/>
        </p:nvSpPr>
        <p:spPr>
          <a:xfrm>
            <a:off x="0" y="2552700"/>
            <a:ext cx="12192000" cy="35401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hteck: abgerundete Ecken 3">
            <a:extLst>
              <a:ext uri="{FF2B5EF4-FFF2-40B4-BE49-F238E27FC236}">
                <a16:creationId xmlns:a16="http://schemas.microsoft.com/office/drawing/2014/main" id="{6BA05AD1-B6A6-2363-5D85-6D2124A72548}"/>
              </a:ext>
            </a:extLst>
          </p:cNvPr>
          <p:cNvSpPr>
            <a:spLocks/>
          </p:cNvSpPr>
          <p:nvPr/>
        </p:nvSpPr>
        <p:spPr>
          <a:xfrm>
            <a:off x="403200" y="1557339"/>
            <a:ext cx="6762750" cy="4304258"/>
          </a:xfrm>
          <a:prstGeom prst="roundRect">
            <a:avLst>
              <a:gd name="adj" fmla="val 5538"/>
            </a:avLst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Customer journey dashboard</a:t>
            </a:r>
          </a:p>
        </p:txBody>
      </p:sp>
      <p:sp>
        <p:nvSpPr>
          <p:cNvPr id="103" name="Ellipse 40">
            <a:extLst>
              <a:ext uri="{FF2B5EF4-FFF2-40B4-BE49-F238E27FC236}">
                <a16:creationId xmlns:a16="http://schemas.microsoft.com/office/drawing/2014/main" id="{B4703224-0CF9-6511-BCD1-A51AAB1C239A}"/>
              </a:ext>
            </a:extLst>
          </p:cNvPr>
          <p:cNvSpPr>
            <a:spLocks/>
          </p:cNvSpPr>
          <p:nvPr/>
        </p:nvSpPr>
        <p:spPr>
          <a:xfrm>
            <a:off x="7600950" y="2834114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1</a:t>
            </a:r>
          </a:p>
        </p:txBody>
      </p:sp>
      <p:sp>
        <p:nvSpPr>
          <p:cNvPr id="104" name="Textplatzhalter 2">
            <a:extLst>
              <a:ext uri="{FF2B5EF4-FFF2-40B4-BE49-F238E27FC236}">
                <a16:creationId xmlns:a16="http://schemas.microsoft.com/office/drawing/2014/main" id="{15121AF6-8F5A-CC90-F62F-CA91E85A0AC3}"/>
              </a:ext>
            </a:extLst>
          </p:cNvPr>
          <p:cNvSpPr txBox="1">
            <a:spLocks/>
          </p:cNvSpPr>
          <p:nvPr/>
        </p:nvSpPr>
        <p:spPr>
          <a:xfrm>
            <a:off x="8320248" y="2800312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2000" i="0" u="none" strike="noStrike" kern="1200" cap="none" spc="0" normalizeH="0" baseline="0" noProof="0" err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105" name="Ellipse 42">
            <a:extLst>
              <a:ext uri="{FF2B5EF4-FFF2-40B4-BE49-F238E27FC236}">
                <a16:creationId xmlns:a16="http://schemas.microsoft.com/office/drawing/2014/main" id="{D7721CFD-8C65-0C20-CAC4-D4197276D587}"/>
              </a:ext>
            </a:extLst>
          </p:cNvPr>
          <p:cNvSpPr>
            <a:spLocks/>
          </p:cNvSpPr>
          <p:nvPr/>
        </p:nvSpPr>
        <p:spPr>
          <a:xfrm>
            <a:off x="7600950" y="358828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2</a:t>
            </a:r>
          </a:p>
        </p:txBody>
      </p:sp>
      <p:sp>
        <p:nvSpPr>
          <p:cNvPr id="106" name="Textplatzhalter 2">
            <a:extLst>
              <a:ext uri="{FF2B5EF4-FFF2-40B4-BE49-F238E27FC236}">
                <a16:creationId xmlns:a16="http://schemas.microsoft.com/office/drawing/2014/main" id="{DDCE1A7E-A67D-613E-E90E-18E264EDF902}"/>
              </a:ext>
            </a:extLst>
          </p:cNvPr>
          <p:cNvSpPr txBox="1">
            <a:spLocks/>
          </p:cNvSpPr>
          <p:nvPr/>
        </p:nvSpPr>
        <p:spPr>
          <a:xfrm>
            <a:off x="8320248" y="3554481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107" name="Ellipse 44">
            <a:extLst>
              <a:ext uri="{FF2B5EF4-FFF2-40B4-BE49-F238E27FC236}">
                <a16:creationId xmlns:a16="http://schemas.microsoft.com/office/drawing/2014/main" id="{0B45D50E-2D69-2592-31E1-591D740D3420}"/>
              </a:ext>
            </a:extLst>
          </p:cNvPr>
          <p:cNvSpPr>
            <a:spLocks/>
          </p:cNvSpPr>
          <p:nvPr/>
        </p:nvSpPr>
        <p:spPr>
          <a:xfrm>
            <a:off x="7600950" y="434245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3</a:t>
            </a:r>
          </a:p>
        </p:txBody>
      </p:sp>
      <p:sp>
        <p:nvSpPr>
          <p:cNvPr id="108" name="Textplatzhalter 2">
            <a:extLst>
              <a:ext uri="{FF2B5EF4-FFF2-40B4-BE49-F238E27FC236}">
                <a16:creationId xmlns:a16="http://schemas.microsoft.com/office/drawing/2014/main" id="{E11D4C4B-C0AB-E0E5-54F2-129BBC5AB019}"/>
              </a:ext>
            </a:extLst>
          </p:cNvPr>
          <p:cNvSpPr txBox="1">
            <a:spLocks/>
          </p:cNvSpPr>
          <p:nvPr/>
        </p:nvSpPr>
        <p:spPr>
          <a:xfrm>
            <a:off x="8320248" y="4308650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109" name="Ellipse 46">
            <a:extLst>
              <a:ext uri="{FF2B5EF4-FFF2-40B4-BE49-F238E27FC236}">
                <a16:creationId xmlns:a16="http://schemas.microsoft.com/office/drawing/2014/main" id="{B7577AE3-C02E-8B55-B378-FFDF229267D8}"/>
              </a:ext>
            </a:extLst>
          </p:cNvPr>
          <p:cNvSpPr>
            <a:spLocks/>
          </p:cNvSpPr>
          <p:nvPr/>
        </p:nvSpPr>
        <p:spPr>
          <a:xfrm>
            <a:off x="7600950" y="5096621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4</a:t>
            </a:r>
          </a:p>
        </p:txBody>
      </p:sp>
      <p:sp>
        <p:nvSpPr>
          <p:cNvPr id="110" name="Textplatzhalter 2">
            <a:extLst>
              <a:ext uri="{FF2B5EF4-FFF2-40B4-BE49-F238E27FC236}">
                <a16:creationId xmlns:a16="http://schemas.microsoft.com/office/drawing/2014/main" id="{632BB459-F7CB-3160-5BE1-7BAB2B2E839D}"/>
              </a:ext>
            </a:extLst>
          </p:cNvPr>
          <p:cNvSpPr txBox="1">
            <a:spLocks/>
          </p:cNvSpPr>
          <p:nvPr/>
        </p:nvSpPr>
        <p:spPr>
          <a:xfrm>
            <a:off x="8320248" y="5062820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cxnSp>
        <p:nvCxnSpPr>
          <p:cNvPr id="111" name="Gerader Verbinder 48">
            <a:extLst>
              <a:ext uri="{FF2B5EF4-FFF2-40B4-BE49-F238E27FC236}">
                <a16:creationId xmlns:a16="http://schemas.microsoft.com/office/drawing/2014/main" id="{6535D2AD-6C09-C379-6387-57D07BBC7CCC}"/>
              </a:ext>
            </a:extLst>
          </p:cNvPr>
          <p:cNvCxnSpPr>
            <a:cxnSpLocks/>
          </p:cNvCxnSpPr>
          <p:nvPr/>
        </p:nvCxnSpPr>
        <p:spPr>
          <a:xfrm>
            <a:off x="8320247" y="3442854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r Verbinder 49">
            <a:extLst>
              <a:ext uri="{FF2B5EF4-FFF2-40B4-BE49-F238E27FC236}">
                <a16:creationId xmlns:a16="http://schemas.microsoft.com/office/drawing/2014/main" id="{D4EA74F3-022F-95BB-6857-2AE17C91309A}"/>
              </a:ext>
            </a:extLst>
          </p:cNvPr>
          <p:cNvCxnSpPr>
            <a:cxnSpLocks/>
          </p:cNvCxnSpPr>
          <p:nvPr/>
        </p:nvCxnSpPr>
        <p:spPr>
          <a:xfrm>
            <a:off x="8320247" y="4197023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50">
            <a:extLst>
              <a:ext uri="{FF2B5EF4-FFF2-40B4-BE49-F238E27FC236}">
                <a16:creationId xmlns:a16="http://schemas.microsoft.com/office/drawing/2014/main" id="{CA229902-0E3C-B8BE-325E-14427569C9CE}"/>
              </a:ext>
            </a:extLst>
          </p:cNvPr>
          <p:cNvCxnSpPr>
            <a:cxnSpLocks/>
          </p:cNvCxnSpPr>
          <p:nvPr/>
        </p:nvCxnSpPr>
        <p:spPr>
          <a:xfrm>
            <a:off x="8320247" y="4951192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Freeform 16">
            <a:extLst>
              <a:ext uri="{FF2B5EF4-FFF2-40B4-BE49-F238E27FC236}">
                <a16:creationId xmlns:a16="http://schemas.microsoft.com/office/drawing/2014/main" id="{C680FECC-A8D9-F5A4-FB97-72CE0F1B13C8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 rot="10800000">
            <a:off x="555524" y="4309079"/>
            <a:ext cx="426140" cy="424887"/>
          </a:xfrm>
          <a:custGeom>
            <a:avLst/>
            <a:gdLst>
              <a:gd name="connsiteX0" fmla="*/ 179856 w 1480827"/>
              <a:gd name="connsiteY0" fmla="*/ 1283844 h 1476482"/>
              <a:gd name="connsiteX1" fmla="*/ 215734 w 1480827"/>
              <a:gd name="connsiteY1" fmla="*/ 1318299 h 1476482"/>
              <a:gd name="connsiteX2" fmla="*/ 179856 w 1480827"/>
              <a:gd name="connsiteY2" fmla="*/ 1350099 h 1476482"/>
              <a:gd name="connsiteX3" fmla="*/ 149497 w 1480827"/>
              <a:gd name="connsiteY3" fmla="*/ 1318299 h 1476482"/>
              <a:gd name="connsiteX4" fmla="*/ 179856 w 1480827"/>
              <a:gd name="connsiteY4" fmla="*/ 1283844 h 1476482"/>
              <a:gd name="connsiteX5" fmla="*/ 62572 w 1480827"/>
              <a:gd name="connsiteY5" fmla="*/ 788960 h 1476482"/>
              <a:gd name="connsiteX6" fmla="*/ 62572 w 1480827"/>
              <a:gd name="connsiteY6" fmla="*/ 1414213 h 1476482"/>
              <a:gd name="connsiteX7" fmla="*/ 302427 w 1480827"/>
              <a:gd name="connsiteY7" fmla="*/ 1414213 h 1476482"/>
              <a:gd name="connsiteX8" fmla="*/ 302427 w 1480827"/>
              <a:gd name="connsiteY8" fmla="*/ 788960 h 1476482"/>
              <a:gd name="connsiteX9" fmla="*/ 682408 w 1480827"/>
              <a:gd name="connsiteY9" fmla="*/ 63493 h 1476482"/>
              <a:gd name="connsiteX10" fmla="*/ 649164 w 1480827"/>
              <a:gd name="connsiteY10" fmla="*/ 67707 h 1476482"/>
              <a:gd name="connsiteX11" fmla="*/ 662203 w 1480827"/>
              <a:gd name="connsiteY11" fmla="*/ 332344 h 1476482"/>
              <a:gd name="connsiteX12" fmla="*/ 469280 w 1480827"/>
              <a:gd name="connsiteY12" fmla="*/ 607354 h 1476482"/>
              <a:gd name="connsiteX13" fmla="*/ 364992 w 1480827"/>
              <a:gd name="connsiteY13" fmla="*/ 757826 h 1476482"/>
              <a:gd name="connsiteX14" fmla="*/ 364992 w 1480827"/>
              <a:gd name="connsiteY14" fmla="*/ 1414213 h 1476482"/>
              <a:gd name="connsiteX15" fmla="*/ 1201870 w 1480827"/>
              <a:gd name="connsiteY15" fmla="*/ 1414213 h 1476482"/>
              <a:gd name="connsiteX16" fmla="*/ 1204478 w 1480827"/>
              <a:gd name="connsiteY16" fmla="*/ 1414213 h 1476482"/>
              <a:gd name="connsiteX17" fmla="*/ 1308759 w 1480827"/>
              <a:gd name="connsiteY17" fmla="*/ 1307839 h 1476482"/>
              <a:gd name="connsiteX18" fmla="*/ 1293120 w 1480827"/>
              <a:gd name="connsiteY18" fmla="*/ 1258547 h 1476482"/>
              <a:gd name="connsiteX19" fmla="*/ 1293120 w 1480827"/>
              <a:gd name="connsiteY19" fmla="*/ 1230010 h 1476482"/>
              <a:gd name="connsiteX20" fmla="*/ 1313974 w 1480827"/>
              <a:gd name="connsiteY20" fmla="*/ 1211846 h 1476482"/>
              <a:gd name="connsiteX21" fmla="*/ 1402616 w 1480827"/>
              <a:gd name="connsiteY21" fmla="*/ 1108076 h 1476482"/>
              <a:gd name="connsiteX22" fmla="*/ 1373938 w 1480827"/>
              <a:gd name="connsiteY22" fmla="*/ 1035426 h 1476482"/>
              <a:gd name="connsiteX23" fmla="*/ 1363507 w 1480827"/>
              <a:gd name="connsiteY23" fmla="*/ 1012082 h 1476482"/>
              <a:gd name="connsiteX24" fmla="*/ 1376546 w 1480827"/>
              <a:gd name="connsiteY24" fmla="*/ 991321 h 1476482"/>
              <a:gd name="connsiteX25" fmla="*/ 1420863 w 1480827"/>
              <a:gd name="connsiteY25" fmla="*/ 905708 h 1476482"/>
              <a:gd name="connsiteX26" fmla="*/ 1360900 w 1480827"/>
              <a:gd name="connsiteY26" fmla="*/ 827879 h 1476482"/>
              <a:gd name="connsiteX27" fmla="*/ 1329621 w 1480827"/>
              <a:gd name="connsiteY27" fmla="*/ 794147 h 1476482"/>
              <a:gd name="connsiteX28" fmla="*/ 1360900 w 1480827"/>
              <a:gd name="connsiteY28" fmla="*/ 763012 h 1476482"/>
              <a:gd name="connsiteX29" fmla="*/ 1407832 w 1480827"/>
              <a:gd name="connsiteY29" fmla="*/ 672213 h 1476482"/>
              <a:gd name="connsiteX30" fmla="*/ 1329621 w 1480827"/>
              <a:gd name="connsiteY30" fmla="*/ 581406 h 1476482"/>
              <a:gd name="connsiteX31" fmla="*/ 891627 w 1480827"/>
              <a:gd name="connsiteY31" fmla="*/ 581406 h 1476482"/>
              <a:gd name="connsiteX32" fmla="*/ 868165 w 1480827"/>
              <a:gd name="connsiteY32" fmla="*/ 568436 h 1476482"/>
              <a:gd name="connsiteX33" fmla="*/ 862949 w 1480827"/>
              <a:gd name="connsiteY33" fmla="*/ 539898 h 1476482"/>
              <a:gd name="connsiteX34" fmla="*/ 886412 w 1480827"/>
              <a:gd name="connsiteY34" fmla="*/ 296022 h 1476482"/>
              <a:gd name="connsiteX35" fmla="*/ 735198 w 1480827"/>
              <a:gd name="connsiteY35" fmla="*/ 65117 h 1476482"/>
              <a:gd name="connsiteX36" fmla="*/ 682408 w 1480827"/>
              <a:gd name="connsiteY36" fmla="*/ 63493 h 1476482"/>
              <a:gd name="connsiteX37" fmla="*/ 737806 w 1480827"/>
              <a:gd name="connsiteY37" fmla="*/ 251 h 1476482"/>
              <a:gd name="connsiteX38" fmla="*/ 948983 w 1480827"/>
              <a:gd name="connsiteY38" fmla="*/ 290828 h 1476482"/>
              <a:gd name="connsiteX39" fmla="*/ 930736 w 1480827"/>
              <a:gd name="connsiteY39" fmla="*/ 519137 h 1476482"/>
              <a:gd name="connsiteX40" fmla="*/ 1329621 w 1480827"/>
              <a:gd name="connsiteY40" fmla="*/ 519137 h 1476482"/>
              <a:gd name="connsiteX41" fmla="*/ 1473004 w 1480827"/>
              <a:gd name="connsiteY41" fmla="*/ 672213 h 1476482"/>
              <a:gd name="connsiteX42" fmla="*/ 1431294 w 1480827"/>
              <a:gd name="connsiteY42" fmla="*/ 788960 h 1476482"/>
              <a:gd name="connsiteX43" fmla="*/ 1480827 w 1480827"/>
              <a:gd name="connsiteY43" fmla="*/ 905708 h 1476482"/>
              <a:gd name="connsiteX44" fmla="*/ 1436510 w 1480827"/>
              <a:gd name="connsiteY44" fmla="*/ 1019866 h 1476482"/>
              <a:gd name="connsiteX45" fmla="*/ 1465188 w 1480827"/>
              <a:gd name="connsiteY45" fmla="*/ 1108076 h 1476482"/>
              <a:gd name="connsiteX46" fmla="*/ 1363507 w 1480827"/>
              <a:gd name="connsiteY46" fmla="*/ 1261144 h 1476482"/>
              <a:gd name="connsiteX47" fmla="*/ 1368723 w 1480827"/>
              <a:gd name="connsiteY47" fmla="*/ 1307839 h 1476482"/>
              <a:gd name="connsiteX48" fmla="*/ 1212301 w 1480827"/>
              <a:gd name="connsiteY48" fmla="*/ 1473885 h 1476482"/>
              <a:gd name="connsiteX49" fmla="*/ 1201870 w 1480827"/>
              <a:gd name="connsiteY49" fmla="*/ 1476482 h 1476482"/>
              <a:gd name="connsiteX50" fmla="*/ 31286 w 1480827"/>
              <a:gd name="connsiteY50" fmla="*/ 1476482 h 1476482"/>
              <a:gd name="connsiteX51" fmla="*/ 0 w 1480827"/>
              <a:gd name="connsiteY51" fmla="*/ 1442751 h 1476482"/>
              <a:gd name="connsiteX52" fmla="*/ 0 w 1480827"/>
              <a:gd name="connsiteY52" fmla="*/ 757826 h 1476482"/>
              <a:gd name="connsiteX53" fmla="*/ 31286 w 1480827"/>
              <a:gd name="connsiteY53" fmla="*/ 726691 h 1476482"/>
              <a:gd name="connsiteX54" fmla="*/ 305028 w 1480827"/>
              <a:gd name="connsiteY54" fmla="*/ 726691 h 1476482"/>
              <a:gd name="connsiteX55" fmla="*/ 422348 w 1480827"/>
              <a:gd name="connsiteY55" fmla="*/ 565839 h 1476482"/>
              <a:gd name="connsiteX56" fmla="*/ 602239 w 1480827"/>
              <a:gd name="connsiteY56" fmla="*/ 306396 h 1476482"/>
              <a:gd name="connsiteX57" fmla="*/ 581384 w 1480827"/>
              <a:gd name="connsiteY57" fmla="*/ 54736 h 1476482"/>
              <a:gd name="connsiteX58" fmla="*/ 597024 w 1480827"/>
              <a:gd name="connsiteY58" fmla="*/ 21012 h 1476482"/>
              <a:gd name="connsiteX59" fmla="*/ 737806 w 1480827"/>
              <a:gd name="connsiteY59" fmla="*/ 251 h 1476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1480827" h="1476482">
                <a:moveTo>
                  <a:pt x="179856" y="1283844"/>
                </a:moveTo>
                <a:cubicBezTo>
                  <a:pt x="199175" y="1283844"/>
                  <a:pt x="215734" y="1299744"/>
                  <a:pt x="215734" y="1318299"/>
                </a:cubicBezTo>
                <a:cubicBezTo>
                  <a:pt x="215734" y="1336847"/>
                  <a:pt x="199175" y="1350099"/>
                  <a:pt x="179856" y="1350099"/>
                </a:cubicBezTo>
                <a:cubicBezTo>
                  <a:pt x="163296" y="1350099"/>
                  <a:pt x="149497" y="1336847"/>
                  <a:pt x="149497" y="1318299"/>
                </a:cubicBezTo>
                <a:cubicBezTo>
                  <a:pt x="149497" y="1299744"/>
                  <a:pt x="163296" y="1283844"/>
                  <a:pt x="179856" y="1283844"/>
                </a:cubicBezTo>
                <a:close/>
                <a:moveTo>
                  <a:pt x="62572" y="788960"/>
                </a:moveTo>
                <a:lnTo>
                  <a:pt x="62572" y="1414213"/>
                </a:lnTo>
                <a:lnTo>
                  <a:pt x="302427" y="1414213"/>
                </a:lnTo>
                <a:lnTo>
                  <a:pt x="302427" y="788960"/>
                </a:lnTo>
                <a:close/>
                <a:moveTo>
                  <a:pt x="682408" y="63493"/>
                </a:moveTo>
                <a:cubicBezTo>
                  <a:pt x="668069" y="64466"/>
                  <a:pt x="656988" y="66412"/>
                  <a:pt x="649164" y="67707"/>
                </a:cubicBezTo>
                <a:cubicBezTo>
                  <a:pt x="662203" y="127379"/>
                  <a:pt x="685665" y="270074"/>
                  <a:pt x="662203" y="332344"/>
                </a:cubicBezTo>
                <a:cubicBezTo>
                  <a:pt x="625702" y="438711"/>
                  <a:pt x="539668" y="529517"/>
                  <a:pt x="469280" y="607354"/>
                </a:cubicBezTo>
                <a:cubicBezTo>
                  <a:pt x="417139" y="667019"/>
                  <a:pt x="364992" y="721504"/>
                  <a:pt x="364992" y="757826"/>
                </a:cubicBezTo>
                <a:lnTo>
                  <a:pt x="364992" y="1414213"/>
                </a:lnTo>
                <a:lnTo>
                  <a:pt x="1201870" y="1414213"/>
                </a:lnTo>
                <a:cubicBezTo>
                  <a:pt x="1204478" y="1414213"/>
                  <a:pt x="1204478" y="1414213"/>
                  <a:pt x="1204478" y="1414213"/>
                </a:cubicBezTo>
                <a:cubicBezTo>
                  <a:pt x="1264442" y="1409026"/>
                  <a:pt x="1308759" y="1362324"/>
                  <a:pt x="1308759" y="1307839"/>
                </a:cubicBezTo>
                <a:cubicBezTo>
                  <a:pt x="1308759" y="1292279"/>
                  <a:pt x="1300943" y="1274115"/>
                  <a:pt x="1293120" y="1258547"/>
                </a:cubicBezTo>
                <a:cubicBezTo>
                  <a:pt x="1287904" y="1250764"/>
                  <a:pt x="1287904" y="1237793"/>
                  <a:pt x="1293120" y="1230010"/>
                </a:cubicBezTo>
                <a:cubicBezTo>
                  <a:pt x="1295727" y="1219629"/>
                  <a:pt x="1306151" y="1214442"/>
                  <a:pt x="1313974" y="1211846"/>
                </a:cubicBezTo>
                <a:cubicBezTo>
                  <a:pt x="1363507" y="1198875"/>
                  <a:pt x="1402616" y="1159964"/>
                  <a:pt x="1402616" y="1108076"/>
                </a:cubicBezTo>
                <a:cubicBezTo>
                  <a:pt x="1402616" y="1082128"/>
                  <a:pt x="1389578" y="1056187"/>
                  <a:pt x="1373938" y="1035426"/>
                </a:cubicBezTo>
                <a:cubicBezTo>
                  <a:pt x="1363507" y="1030239"/>
                  <a:pt x="1360900" y="1019866"/>
                  <a:pt x="1363507" y="1012082"/>
                </a:cubicBezTo>
                <a:cubicBezTo>
                  <a:pt x="1363507" y="1004298"/>
                  <a:pt x="1368723" y="993918"/>
                  <a:pt x="1376546" y="991321"/>
                </a:cubicBezTo>
                <a:cubicBezTo>
                  <a:pt x="1405224" y="967977"/>
                  <a:pt x="1420863" y="939432"/>
                  <a:pt x="1420863" y="905708"/>
                </a:cubicBezTo>
                <a:cubicBezTo>
                  <a:pt x="1420863" y="851222"/>
                  <a:pt x="1384369" y="827879"/>
                  <a:pt x="1360900" y="827879"/>
                </a:cubicBezTo>
                <a:cubicBezTo>
                  <a:pt x="1342652" y="827879"/>
                  <a:pt x="1329621" y="812311"/>
                  <a:pt x="1329621" y="794147"/>
                </a:cubicBezTo>
                <a:cubicBezTo>
                  <a:pt x="1329621" y="778580"/>
                  <a:pt x="1342652" y="763012"/>
                  <a:pt x="1360900" y="763012"/>
                </a:cubicBezTo>
                <a:cubicBezTo>
                  <a:pt x="1373938" y="763012"/>
                  <a:pt x="1407832" y="739669"/>
                  <a:pt x="1407832" y="672213"/>
                </a:cubicBezTo>
                <a:cubicBezTo>
                  <a:pt x="1407832" y="617727"/>
                  <a:pt x="1366115" y="581406"/>
                  <a:pt x="1329621" y="581406"/>
                </a:cubicBezTo>
                <a:lnTo>
                  <a:pt x="891627" y="581406"/>
                </a:lnTo>
                <a:cubicBezTo>
                  <a:pt x="881196" y="581406"/>
                  <a:pt x="870772" y="578809"/>
                  <a:pt x="868165" y="568436"/>
                </a:cubicBezTo>
                <a:cubicBezTo>
                  <a:pt x="860341" y="560652"/>
                  <a:pt x="860341" y="550271"/>
                  <a:pt x="862949" y="539898"/>
                </a:cubicBezTo>
                <a:cubicBezTo>
                  <a:pt x="870772" y="506166"/>
                  <a:pt x="894235" y="410173"/>
                  <a:pt x="886412" y="296022"/>
                </a:cubicBezTo>
                <a:cubicBezTo>
                  <a:pt x="870772" y="163700"/>
                  <a:pt x="808201" y="67707"/>
                  <a:pt x="735198" y="65117"/>
                </a:cubicBezTo>
                <a:cubicBezTo>
                  <a:pt x="714344" y="62520"/>
                  <a:pt x="696747" y="62520"/>
                  <a:pt x="682408" y="63493"/>
                </a:cubicBezTo>
                <a:close/>
                <a:moveTo>
                  <a:pt x="737806" y="251"/>
                </a:moveTo>
                <a:cubicBezTo>
                  <a:pt x="844702" y="5445"/>
                  <a:pt x="930736" y="122192"/>
                  <a:pt x="948983" y="290828"/>
                </a:cubicBezTo>
                <a:cubicBezTo>
                  <a:pt x="956807" y="384232"/>
                  <a:pt x="943768" y="467255"/>
                  <a:pt x="930736" y="519137"/>
                </a:cubicBezTo>
                <a:lnTo>
                  <a:pt x="1329621" y="519137"/>
                </a:lnTo>
                <a:cubicBezTo>
                  <a:pt x="1405224" y="519137"/>
                  <a:pt x="1473004" y="589190"/>
                  <a:pt x="1473004" y="672213"/>
                </a:cubicBezTo>
                <a:cubicBezTo>
                  <a:pt x="1473004" y="724101"/>
                  <a:pt x="1454757" y="763012"/>
                  <a:pt x="1431294" y="788960"/>
                </a:cubicBezTo>
                <a:cubicBezTo>
                  <a:pt x="1462580" y="814901"/>
                  <a:pt x="1480827" y="853819"/>
                  <a:pt x="1480827" y="905708"/>
                </a:cubicBezTo>
                <a:cubicBezTo>
                  <a:pt x="1480827" y="947216"/>
                  <a:pt x="1467796" y="988731"/>
                  <a:pt x="1436510" y="1019866"/>
                </a:cubicBezTo>
                <a:cubicBezTo>
                  <a:pt x="1454757" y="1045806"/>
                  <a:pt x="1465188" y="1076941"/>
                  <a:pt x="1465188" y="1108076"/>
                </a:cubicBezTo>
                <a:cubicBezTo>
                  <a:pt x="1465188" y="1172934"/>
                  <a:pt x="1423471" y="1235196"/>
                  <a:pt x="1363507" y="1261144"/>
                </a:cubicBezTo>
                <a:cubicBezTo>
                  <a:pt x="1366115" y="1276712"/>
                  <a:pt x="1368723" y="1292279"/>
                  <a:pt x="1368723" y="1307839"/>
                </a:cubicBezTo>
                <a:cubicBezTo>
                  <a:pt x="1368723" y="1396056"/>
                  <a:pt x="1300943" y="1466102"/>
                  <a:pt x="1212301" y="1473885"/>
                </a:cubicBezTo>
                <a:cubicBezTo>
                  <a:pt x="1209693" y="1476482"/>
                  <a:pt x="1204478" y="1476482"/>
                  <a:pt x="1201870" y="1476482"/>
                </a:cubicBezTo>
                <a:lnTo>
                  <a:pt x="31286" y="1476482"/>
                </a:lnTo>
                <a:cubicBezTo>
                  <a:pt x="13039" y="1476482"/>
                  <a:pt x="0" y="1460915"/>
                  <a:pt x="0" y="1442751"/>
                </a:cubicBezTo>
                <a:lnTo>
                  <a:pt x="0" y="757826"/>
                </a:lnTo>
                <a:cubicBezTo>
                  <a:pt x="0" y="739669"/>
                  <a:pt x="13039" y="726691"/>
                  <a:pt x="31286" y="726691"/>
                </a:cubicBezTo>
                <a:lnTo>
                  <a:pt x="305028" y="726691"/>
                </a:lnTo>
                <a:cubicBezTo>
                  <a:pt x="320674" y="677400"/>
                  <a:pt x="367599" y="628108"/>
                  <a:pt x="422348" y="565839"/>
                </a:cubicBezTo>
                <a:cubicBezTo>
                  <a:pt x="492742" y="490599"/>
                  <a:pt x="570953" y="404986"/>
                  <a:pt x="602239" y="306396"/>
                </a:cubicBezTo>
                <a:cubicBezTo>
                  <a:pt x="620486" y="267485"/>
                  <a:pt x="599631" y="127379"/>
                  <a:pt x="581384" y="54736"/>
                </a:cubicBezTo>
                <a:cubicBezTo>
                  <a:pt x="578777" y="41766"/>
                  <a:pt x="589200" y="26199"/>
                  <a:pt x="597024" y="21012"/>
                </a:cubicBezTo>
                <a:cubicBezTo>
                  <a:pt x="602239" y="15818"/>
                  <a:pt x="641348" y="-2339"/>
                  <a:pt x="737806" y="25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15" name="Freeform 17">
            <a:extLst>
              <a:ext uri="{FF2B5EF4-FFF2-40B4-BE49-F238E27FC236}">
                <a16:creationId xmlns:a16="http://schemas.microsoft.com/office/drawing/2014/main" id="{634E26E5-422E-E465-8BFF-8C9128A0E235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555524" y="2600142"/>
            <a:ext cx="426140" cy="424887"/>
          </a:xfrm>
          <a:custGeom>
            <a:avLst/>
            <a:gdLst>
              <a:gd name="connsiteX0" fmla="*/ 179856 w 1480827"/>
              <a:gd name="connsiteY0" fmla="*/ 1283844 h 1476482"/>
              <a:gd name="connsiteX1" fmla="*/ 215734 w 1480827"/>
              <a:gd name="connsiteY1" fmla="*/ 1318299 h 1476482"/>
              <a:gd name="connsiteX2" fmla="*/ 179856 w 1480827"/>
              <a:gd name="connsiteY2" fmla="*/ 1350099 h 1476482"/>
              <a:gd name="connsiteX3" fmla="*/ 149497 w 1480827"/>
              <a:gd name="connsiteY3" fmla="*/ 1318299 h 1476482"/>
              <a:gd name="connsiteX4" fmla="*/ 179856 w 1480827"/>
              <a:gd name="connsiteY4" fmla="*/ 1283844 h 1476482"/>
              <a:gd name="connsiteX5" fmla="*/ 62572 w 1480827"/>
              <a:gd name="connsiteY5" fmla="*/ 788960 h 1476482"/>
              <a:gd name="connsiteX6" fmla="*/ 62572 w 1480827"/>
              <a:gd name="connsiteY6" fmla="*/ 1414213 h 1476482"/>
              <a:gd name="connsiteX7" fmla="*/ 302427 w 1480827"/>
              <a:gd name="connsiteY7" fmla="*/ 1414213 h 1476482"/>
              <a:gd name="connsiteX8" fmla="*/ 302427 w 1480827"/>
              <a:gd name="connsiteY8" fmla="*/ 788960 h 1476482"/>
              <a:gd name="connsiteX9" fmla="*/ 682408 w 1480827"/>
              <a:gd name="connsiteY9" fmla="*/ 63493 h 1476482"/>
              <a:gd name="connsiteX10" fmla="*/ 649164 w 1480827"/>
              <a:gd name="connsiteY10" fmla="*/ 67707 h 1476482"/>
              <a:gd name="connsiteX11" fmla="*/ 662203 w 1480827"/>
              <a:gd name="connsiteY11" fmla="*/ 332344 h 1476482"/>
              <a:gd name="connsiteX12" fmla="*/ 469280 w 1480827"/>
              <a:gd name="connsiteY12" fmla="*/ 607354 h 1476482"/>
              <a:gd name="connsiteX13" fmla="*/ 364992 w 1480827"/>
              <a:gd name="connsiteY13" fmla="*/ 757826 h 1476482"/>
              <a:gd name="connsiteX14" fmla="*/ 364992 w 1480827"/>
              <a:gd name="connsiteY14" fmla="*/ 1414213 h 1476482"/>
              <a:gd name="connsiteX15" fmla="*/ 1201870 w 1480827"/>
              <a:gd name="connsiteY15" fmla="*/ 1414213 h 1476482"/>
              <a:gd name="connsiteX16" fmla="*/ 1204478 w 1480827"/>
              <a:gd name="connsiteY16" fmla="*/ 1414213 h 1476482"/>
              <a:gd name="connsiteX17" fmla="*/ 1308759 w 1480827"/>
              <a:gd name="connsiteY17" fmla="*/ 1307839 h 1476482"/>
              <a:gd name="connsiteX18" fmla="*/ 1293120 w 1480827"/>
              <a:gd name="connsiteY18" fmla="*/ 1258547 h 1476482"/>
              <a:gd name="connsiteX19" fmla="*/ 1293120 w 1480827"/>
              <a:gd name="connsiteY19" fmla="*/ 1230010 h 1476482"/>
              <a:gd name="connsiteX20" fmla="*/ 1313974 w 1480827"/>
              <a:gd name="connsiteY20" fmla="*/ 1211846 h 1476482"/>
              <a:gd name="connsiteX21" fmla="*/ 1402616 w 1480827"/>
              <a:gd name="connsiteY21" fmla="*/ 1108076 h 1476482"/>
              <a:gd name="connsiteX22" fmla="*/ 1373938 w 1480827"/>
              <a:gd name="connsiteY22" fmla="*/ 1035426 h 1476482"/>
              <a:gd name="connsiteX23" fmla="*/ 1363507 w 1480827"/>
              <a:gd name="connsiteY23" fmla="*/ 1012082 h 1476482"/>
              <a:gd name="connsiteX24" fmla="*/ 1376546 w 1480827"/>
              <a:gd name="connsiteY24" fmla="*/ 991321 h 1476482"/>
              <a:gd name="connsiteX25" fmla="*/ 1420863 w 1480827"/>
              <a:gd name="connsiteY25" fmla="*/ 905708 h 1476482"/>
              <a:gd name="connsiteX26" fmla="*/ 1360900 w 1480827"/>
              <a:gd name="connsiteY26" fmla="*/ 827879 h 1476482"/>
              <a:gd name="connsiteX27" fmla="*/ 1329621 w 1480827"/>
              <a:gd name="connsiteY27" fmla="*/ 794147 h 1476482"/>
              <a:gd name="connsiteX28" fmla="*/ 1360900 w 1480827"/>
              <a:gd name="connsiteY28" fmla="*/ 763012 h 1476482"/>
              <a:gd name="connsiteX29" fmla="*/ 1407832 w 1480827"/>
              <a:gd name="connsiteY29" fmla="*/ 672213 h 1476482"/>
              <a:gd name="connsiteX30" fmla="*/ 1329621 w 1480827"/>
              <a:gd name="connsiteY30" fmla="*/ 581406 h 1476482"/>
              <a:gd name="connsiteX31" fmla="*/ 891627 w 1480827"/>
              <a:gd name="connsiteY31" fmla="*/ 581406 h 1476482"/>
              <a:gd name="connsiteX32" fmla="*/ 868165 w 1480827"/>
              <a:gd name="connsiteY32" fmla="*/ 568436 h 1476482"/>
              <a:gd name="connsiteX33" fmla="*/ 862949 w 1480827"/>
              <a:gd name="connsiteY33" fmla="*/ 539898 h 1476482"/>
              <a:gd name="connsiteX34" fmla="*/ 886412 w 1480827"/>
              <a:gd name="connsiteY34" fmla="*/ 296022 h 1476482"/>
              <a:gd name="connsiteX35" fmla="*/ 735198 w 1480827"/>
              <a:gd name="connsiteY35" fmla="*/ 65117 h 1476482"/>
              <a:gd name="connsiteX36" fmla="*/ 682408 w 1480827"/>
              <a:gd name="connsiteY36" fmla="*/ 63493 h 1476482"/>
              <a:gd name="connsiteX37" fmla="*/ 737806 w 1480827"/>
              <a:gd name="connsiteY37" fmla="*/ 251 h 1476482"/>
              <a:gd name="connsiteX38" fmla="*/ 948983 w 1480827"/>
              <a:gd name="connsiteY38" fmla="*/ 290828 h 1476482"/>
              <a:gd name="connsiteX39" fmla="*/ 930736 w 1480827"/>
              <a:gd name="connsiteY39" fmla="*/ 519137 h 1476482"/>
              <a:gd name="connsiteX40" fmla="*/ 1329621 w 1480827"/>
              <a:gd name="connsiteY40" fmla="*/ 519137 h 1476482"/>
              <a:gd name="connsiteX41" fmla="*/ 1473004 w 1480827"/>
              <a:gd name="connsiteY41" fmla="*/ 672213 h 1476482"/>
              <a:gd name="connsiteX42" fmla="*/ 1431294 w 1480827"/>
              <a:gd name="connsiteY42" fmla="*/ 788960 h 1476482"/>
              <a:gd name="connsiteX43" fmla="*/ 1480827 w 1480827"/>
              <a:gd name="connsiteY43" fmla="*/ 905708 h 1476482"/>
              <a:gd name="connsiteX44" fmla="*/ 1436510 w 1480827"/>
              <a:gd name="connsiteY44" fmla="*/ 1019866 h 1476482"/>
              <a:gd name="connsiteX45" fmla="*/ 1465188 w 1480827"/>
              <a:gd name="connsiteY45" fmla="*/ 1108076 h 1476482"/>
              <a:gd name="connsiteX46" fmla="*/ 1363507 w 1480827"/>
              <a:gd name="connsiteY46" fmla="*/ 1261144 h 1476482"/>
              <a:gd name="connsiteX47" fmla="*/ 1368723 w 1480827"/>
              <a:gd name="connsiteY47" fmla="*/ 1307839 h 1476482"/>
              <a:gd name="connsiteX48" fmla="*/ 1212301 w 1480827"/>
              <a:gd name="connsiteY48" fmla="*/ 1473885 h 1476482"/>
              <a:gd name="connsiteX49" fmla="*/ 1201870 w 1480827"/>
              <a:gd name="connsiteY49" fmla="*/ 1476482 h 1476482"/>
              <a:gd name="connsiteX50" fmla="*/ 31286 w 1480827"/>
              <a:gd name="connsiteY50" fmla="*/ 1476482 h 1476482"/>
              <a:gd name="connsiteX51" fmla="*/ 0 w 1480827"/>
              <a:gd name="connsiteY51" fmla="*/ 1442751 h 1476482"/>
              <a:gd name="connsiteX52" fmla="*/ 0 w 1480827"/>
              <a:gd name="connsiteY52" fmla="*/ 757826 h 1476482"/>
              <a:gd name="connsiteX53" fmla="*/ 31286 w 1480827"/>
              <a:gd name="connsiteY53" fmla="*/ 726691 h 1476482"/>
              <a:gd name="connsiteX54" fmla="*/ 305028 w 1480827"/>
              <a:gd name="connsiteY54" fmla="*/ 726691 h 1476482"/>
              <a:gd name="connsiteX55" fmla="*/ 422348 w 1480827"/>
              <a:gd name="connsiteY55" fmla="*/ 565839 h 1476482"/>
              <a:gd name="connsiteX56" fmla="*/ 602239 w 1480827"/>
              <a:gd name="connsiteY56" fmla="*/ 306396 h 1476482"/>
              <a:gd name="connsiteX57" fmla="*/ 581384 w 1480827"/>
              <a:gd name="connsiteY57" fmla="*/ 54736 h 1476482"/>
              <a:gd name="connsiteX58" fmla="*/ 597024 w 1480827"/>
              <a:gd name="connsiteY58" fmla="*/ 21012 h 1476482"/>
              <a:gd name="connsiteX59" fmla="*/ 737806 w 1480827"/>
              <a:gd name="connsiteY59" fmla="*/ 251 h 1476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1480827" h="1476482">
                <a:moveTo>
                  <a:pt x="179856" y="1283844"/>
                </a:moveTo>
                <a:cubicBezTo>
                  <a:pt x="199175" y="1283844"/>
                  <a:pt x="215734" y="1299744"/>
                  <a:pt x="215734" y="1318299"/>
                </a:cubicBezTo>
                <a:cubicBezTo>
                  <a:pt x="215734" y="1336847"/>
                  <a:pt x="199175" y="1350099"/>
                  <a:pt x="179856" y="1350099"/>
                </a:cubicBezTo>
                <a:cubicBezTo>
                  <a:pt x="163296" y="1350099"/>
                  <a:pt x="149497" y="1336847"/>
                  <a:pt x="149497" y="1318299"/>
                </a:cubicBezTo>
                <a:cubicBezTo>
                  <a:pt x="149497" y="1299744"/>
                  <a:pt x="163296" y="1283844"/>
                  <a:pt x="179856" y="1283844"/>
                </a:cubicBezTo>
                <a:close/>
                <a:moveTo>
                  <a:pt x="62572" y="788960"/>
                </a:moveTo>
                <a:lnTo>
                  <a:pt x="62572" y="1414213"/>
                </a:lnTo>
                <a:lnTo>
                  <a:pt x="302427" y="1414213"/>
                </a:lnTo>
                <a:lnTo>
                  <a:pt x="302427" y="788960"/>
                </a:lnTo>
                <a:close/>
                <a:moveTo>
                  <a:pt x="682408" y="63493"/>
                </a:moveTo>
                <a:cubicBezTo>
                  <a:pt x="668069" y="64466"/>
                  <a:pt x="656988" y="66412"/>
                  <a:pt x="649164" y="67707"/>
                </a:cubicBezTo>
                <a:cubicBezTo>
                  <a:pt x="662203" y="127379"/>
                  <a:pt x="685665" y="270074"/>
                  <a:pt x="662203" y="332344"/>
                </a:cubicBezTo>
                <a:cubicBezTo>
                  <a:pt x="625702" y="438711"/>
                  <a:pt x="539668" y="529517"/>
                  <a:pt x="469280" y="607354"/>
                </a:cubicBezTo>
                <a:cubicBezTo>
                  <a:pt x="417139" y="667019"/>
                  <a:pt x="364992" y="721504"/>
                  <a:pt x="364992" y="757826"/>
                </a:cubicBezTo>
                <a:lnTo>
                  <a:pt x="364992" y="1414213"/>
                </a:lnTo>
                <a:lnTo>
                  <a:pt x="1201870" y="1414213"/>
                </a:lnTo>
                <a:cubicBezTo>
                  <a:pt x="1204478" y="1414213"/>
                  <a:pt x="1204478" y="1414213"/>
                  <a:pt x="1204478" y="1414213"/>
                </a:cubicBezTo>
                <a:cubicBezTo>
                  <a:pt x="1264442" y="1409026"/>
                  <a:pt x="1308759" y="1362324"/>
                  <a:pt x="1308759" y="1307839"/>
                </a:cubicBezTo>
                <a:cubicBezTo>
                  <a:pt x="1308759" y="1292279"/>
                  <a:pt x="1300943" y="1274115"/>
                  <a:pt x="1293120" y="1258547"/>
                </a:cubicBezTo>
                <a:cubicBezTo>
                  <a:pt x="1287904" y="1250764"/>
                  <a:pt x="1287904" y="1237793"/>
                  <a:pt x="1293120" y="1230010"/>
                </a:cubicBezTo>
                <a:cubicBezTo>
                  <a:pt x="1295727" y="1219629"/>
                  <a:pt x="1306151" y="1214442"/>
                  <a:pt x="1313974" y="1211846"/>
                </a:cubicBezTo>
                <a:cubicBezTo>
                  <a:pt x="1363507" y="1198875"/>
                  <a:pt x="1402616" y="1159964"/>
                  <a:pt x="1402616" y="1108076"/>
                </a:cubicBezTo>
                <a:cubicBezTo>
                  <a:pt x="1402616" y="1082128"/>
                  <a:pt x="1389578" y="1056187"/>
                  <a:pt x="1373938" y="1035426"/>
                </a:cubicBezTo>
                <a:cubicBezTo>
                  <a:pt x="1363507" y="1030239"/>
                  <a:pt x="1360900" y="1019866"/>
                  <a:pt x="1363507" y="1012082"/>
                </a:cubicBezTo>
                <a:cubicBezTo>
                  <a:pt x="1363507" y="1004298"/>
                  <a:pt x="1368723" y="993918"/>
                  <a:pt x="1376546" y="991321"/>
                </a:cubicBezTo>
                <a:cubicBezTo>
                  <a:pt x="1405224" y="967977"/>
                  <a:pt x="1420863" y="939432"/>
                  <a:pt x="1420863" y="905708"/>
                </a:cubicBezTo>
                <a:cubicBezTo>
                  <a:pt x="1420863" y="851222"/>
                  <a:pt x="1384369" y="827879"/>
                  <a:pt x="1360900" y="827879"/>
                </a:cubicBezTo>
                <a:cubicBezTo>
                  <a:pt x="1342652" y="827879"/>
                  <a:pt x="1329621" y="812311"/>
                  <a:pt x="1329621" y="794147"/>
                </a:cubicBezTo>
                <a:cubicBezTo>
                  <a:pt x="1329621" y="778580"/>
                  <a:pt x="1342652" y="763012"/>
                  <a:pt x="1360900" y="763012"/>
                </a:cubicBezTo>
                <a:cubicBezTo>
                  <a:pt x="1373938" y="763012"/>
                  <a:pt x="1407832" y="739669"/>
                  <a:pt x="1407832" y="672213"/>
                </a:cubicBezTo>
                <a:cubicBezTo>
                  <a:pt x="1407832" y="617727"/>
                  <a:pt x="1366115" y="581406"/>
                  <a:pt x="1329621" y="581406"/>
                </a:cubicBezTo>
                <a:lnTo>
                  <a:pt x="891627" y="581406"/>
                </a:lnTo>
                <a:cubicBezTo>
                  <a:pt x="881196" y="581406"/>
                  <a:pt x="870772" y="578809"/>
                  <a:pt x="868165" y="568436"/>
                </a:cubicBezTo>
                <a:cubicBezTo>
                  <a:pt x="860341" y="560652"/>
                  <a:pt x="860341" y="550271"/>
                  <a:pt x="862949" y="539898"/>
                </a:cubicBezTo>
                <a:cubicBezTo>
                  <a:pt x="870772" y="506166"/>
                  <a:pt x="894235" y="410173"/>
                  <a:pt x="886412" y="296022"/>
                </a:cubicBezTo>
                <a:cubicBezTo>
                  <a:pt x="870772" y="163700"/>
                  <a:pt x="808201" y="67707"/>
                  <a:pt x="735198" y="65117"/>
                </a:cubicBezTo>
                <a:cubicBezTo>
                  <a:pt x="714344" y="62520"/>
                  <a:pt x="696747" y="62520"/>
                  <a:pt x="682408" y="63493"/>
                </a:cubicBezTo>
                <a:close/>
                <a:moveTo>
                  <a:pt x="737806" y="251"/>
                </a:moveTo>
                <a:cubicBezTo>
                  <a:pt x="844702" y="5445"/>
                  <a:pt x="930736" y="122192"/>
                  <a:pt x="948983" y="290828"/>
                </a:cubicBezTo>
                <a:cubicBezTo>
                  <a:pt x="956807" y="384232"/>
                  <a:pt x="943768" y="467255"/>
                  <a:pt x="930736" y="519137"/>
                </a:cubicBezTo>
                <a:lnTo>
                  <a:pt x="1329621" y="519137"/>
                </a:lnTo>
                <a:cubicBezTo>
                  <a:pt x="1405224" y="519137"/>
                  <a:pt x="1473004" y="589190"/>
                  <a:pt x="1473004" y="672213"/>
                </a:cubicBezTo>
                <a:cubicBezTo>
                  <a:pt x="1473004" y="724101"/>
                  <a:pt x="1454757" y="763012"/>
                  <a:pt x="1431294" y="788960"/>
                </a:cubicBezTo>
                <a:cubicBezTo>
                  <a:pt x="1462580" y="814901"/>
                  <a:pt x="1480827" y="853819"/>
                  <a:pt x="1480827" y="905708"/>
                </a:cubicBezTo>
                <a:cubicBezTo>
                  <a:pt x="1480827" y="947216"/>
                  <a:pt x="1467796" y="988731"/>
                  <a:pt x="1436510" y="1019866"/>
                </a:cubicBezTo>
                <a:cubicBezTo>
                  <a:pt x="1454757" y="1045806"/>
                  <a:pt x="1465188" y="1076941"/>
                  <a:pt x="1465188" y="1108076"/>
                </a:cubicBezTo>
                <a:cubicBezTo>
                  <a:pt x="1465188" y="1172934"/>
                  <a:pt x="1423471" y="1235196"/>
                  <a:pt x="1363507" y="1261144"/>
                </a:cubicBezTo>
                <a:cubicBezTo>
                  <a:pt x="1366115" y="1276712"/>
                  <a:pt x="1368723" y="1292279"/>
                  <a:pt x="1368723" y="1307839"/>
                </a:cubicBezTo>
                <a:cubicBezTo>
                  <a:pt x="1368723" y="1396056"/>
                  <a:pt x="1300943" y="1466102"/>
                  <a:pt x="1212301" y="1473885"/>
                </a:cubicBezTo>
                <a:cubicBezTo>
                  <a:pt x="1209693" y="1476482"/>
                  <a:pt x="1204478" y="1476482"/>
                  <a:pt x="1201870" y="1476482"/>
                </a:cubicBezTo>
                <a:lnTo>
                  <a:pt x="31286" y="1476482"/>
                </a:lnTo>
                <a:cubicBezTo>
                  <a:pt x="13039" y="1476482"/>
                  <a:pt x="0" y="1460915"/>
                  <a:pt x="0" y="1442751"/>
                </a:cubicBezTo>
                <a:lnTo>
                  <a:pt x="0" y="757826"/>
                </a:lnTo>
                <a:cubicBezTo>
                  <a:pt x="0" y="739669"/>
                  <a:pt x="13039" y="726691"/>
                  <a:pt x="31286" y="726691"/>
                </a:cubicBezTo>
                <a:lnTo>
                  <a:pt x="305028" y="726691"/>
                </a:lnTo>
                <a:cubicBezTo>
                  <a:pt x="320674" y="677400"/>
                  <a:pt x="367599" y="628108"/>
                  <a:pt x="422348" y="565839"/>
                </a:cubicBezTo>
                <a:cubicBezTo>
                  <a:pt x="492742" y="490599"/>
                  <a:pt x="570953" y="404986"/>
                  <a:pt x="602239" y="306396"/>
                </a:cubicBezTo>
                <a:cubicBezTo>
                  <a:pt x="620486" y="267485"/>
                  <a:pt x="599631" y="127379"/>
                  <a:pt x="581384" y="54736"/>
                </a:cubicBezTo>
                <a:cubicBezTo>
                  <a:pt x="578777" y="41766"/>
                  <a:pt x="589200" y="26199"/>
                  <a:pt x="597024" y="21012"/>
                </a:cubicBezTo>
                <a:cubicBezTo>
                  <a:pt x="602239" y="15818"/>
                  <a:pt x="641348" y="-2339"/>
                  <a:pt x="737806" y="25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cxnSp>
        <p:nvCxnSpPr>
          <p:cNvPr id="116" name="Gerader Verbinder 37">
            <a:extLst>
              <a:ext uri="{FF2B5EF4-FFF2-40B4-BE49-F238E27FC236}">
                <a16:creationId xmlns:a16="http://schemas.microsoft.com/office/drawing/2014/main" id="{A9C9718E-ABA3-6728-26CC-E0D5DAFF71AD}"/>
              </a:ext>
            </a:extLst>
          </p:cNvPr>
          <p:cNvCxnSpPr>
            <a:cxnSpLocks/>
          </p:cNvCxnSpPr>
          <p:nvPr/>
        </p:nvCxnSpPr>
        <p:spPr>
          <a:xfrm>
            <a:off x="403200" y="3248625"/>
            <a:ext cx="67627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Gerader Verbinder 38">
            <a:extLst>
              <a:ext uri="{FF2B5EF4-FFF2-40B4-BE49-F238E27FC236}">
                <a16:creationId xmlns:a16="http://schemas.microsoft.com/office/drawing/2014/main" id="{9EF2ACDE-C440-B719-746C-396C32E7F565}"/>
              </a:ext>
            </a:extLst>
          </p:cNvPr>
          <p:cNvCxnSpPr>
            <a:cxnSpLocks/>
          </p:cNvCxnSpPr>
          <p:nvPr/>
        </p:nvCxnSpPr>
        <p:spPr>
          <a:xfrm>
            <a:off x="403200" y="4086426"/>
            <a:ext cx="67627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Freeform 10">
            <a:extLst>
              <a:ext uri="{FF2B5EF4-FFF2-40B4-BE49-F238E27FC236}">
                <a16:creationId xmlns:a16="http://schemas.microsoft.com/office/drawing/2014/main" id="{8F6DAEE7-0AA7-4C6B-47C6-127D8E3A2696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1209849" y="2631460"/>
            <a:ext cx="5618361" cy="2076994"/>
          </a:xfrm>
          <a:custGeom>
            <a:avLst/>
            <a:gdLst>
              <a:gd name="connsiteX0" fmla="*/ 0 w 16747958"/>
              <a:gd name="connsiteY0" fmla="*/ 1540043 h 2237874"/>
              <a:gd name="connsiteX1" fmla="*/ 288758 w 16747958"/>
              <a:gd name="connsiteY1" fmla="*/ 1155032 h 2237874"/>
              <a:gd name="connsiteX2" fmla="*/ 433137 w 16747958"/>
              <a:gd name="connsiteY2" fmla="*/ 1010653 h 2237874"/>
              <a:gd name="connsiteX3" fmla="*/ 794084 w 16747958"/>
              <a:gd name="connsiteY3" fmla="*/ 721895 h 2237874"/>
              <a:gd name="connsiteX4" fmla="*/ 1179095 w 16747958"/>
              <a:gd name="connsiteY4" fmla="*/ 529390 h 2237874"/>
              <a:gd name="connsiteX5" fmla="*/ 1732547 w 16747958"/>
              <a:gd name="connsiteY5" fmla="*/ 336885 h 2237874"/>
              <a:gd name="connsiteX6" fmla="*/ 2093495 w 16747958"/>
              <a:gd name="connsiteY6" fmla="*/ 264695 h 2237874"/>
              <a:gd name="connsiteX7" fmla="*/ 2719137 w 16747958"/>
              <a:gd name="connsiteY7" fmla="*/ 144379 h 2237874"/>
              <a:gd name="connsiteX8" fmla="*/ 3537284 w 16747958"/>
              <a:gd name="connsiteY8" fmla="*/ 48127 h 2237874"/>
              <a:gd name="connsiteX9" fmla="*/ 4307305 w 16747958"/>
              <a:gd name="connsiteY9" fmla="*/ 0 h 2237874"/>
              <a:gd name="connsiteX10" fmla="*/ 5895474 w 16747958"/>
              <a:gd name="connsiteY10" fmla="*/ 48127 h 2237874"/>
              <a:gd name="connsiteX11" fmla="*/ 6545179 w 16747958"/>
              <a:gd name="connsiteY11" fmla="*/ 144379 h 2237874"/>
              <a:gd name="connsiteX12" fmla="*/ 7146758 w 16747958"/>
              <a:gd name="connsiteY12" fmla="*/ 240632 h 2237874"/>
              <a:gd name="connsiteX13" fmla="*/ 7531769 w 16747958"/>
              <a:gd name="connsiteY13" fmla="*/ 336885 h 2237874"/>
              <a:gd name="connsiteX14" fmla="*/ 7676147 w 16747958"/>
              <a:gd name="connsiteY14" fmla="*/ 360948 h 2237874"/>
              <a:gd name="connsiteX15" fmla="*/ 8061158 w 16747958"/>
              <a:gd name="connsiteY15" fmla="*/ 457200 h 2237874"/>
              <a:gd name="connsiteX16" fmla="*/ 8253663 w 16747958"/>
              <a:gd name="connsiteY16" fmla="*/ 529390 h 2237874"/>
              <a:gd name="connsiteX17" fmla="*/ 8614611 w 16747958"/>
              <a:gd name="connsiteY17" fmla="*/ 649706 h 2237874"/>
              <a:gd name="connsiteX18" fmla="*/ 8831179 w 16747958"/>
              <a:gd name="connsiteY18" fmla="*/ 721895 h 2237874"/>
              <a:gd name="connsiteX19" fmla="*/ 8999621 w 16747958"/>
              <a:gd name="connsiteY19" fmla="*/ 794085 h 2237874"/>
              <a:gd name="connsiteX20" fmla="*/ 9288379 w 16747958"/>
              <a:gd name="connsiteY20" fmla="*/ 890337 h 2237874"/>
              <a:gd name="connsiteX21" fmla="*/ 9480884 w 16747958"/>
              <a:gd name="connsiteY21" fmla="*/ 986590 h 2237874"/>
              <a:gd name="connsiteX22" fmla="*/ 9769642 w 16747958"/>
              <a:gd name="connsiteY22" fmla="*/ 1130969 h 2237874"/>
              <a:gd name="connsiteX23" fmla="*/ 9938084 w 16747958"/>
              <a:gd name="connsiteY23" fmla="*/ 1179095 h 2237874"/>
              <a:gd name="connsiteX24" fmla="*/ 10539663 w 16747958"/>
              <a:gd name="connsiteY24" fmla="*/ 1419727 h 2237874"/>
              <a:gd name="connsiteX25" fmla="*/ 10852484 w 16747958"/>
              <a:gd name="connsiteY25" fmla="*/ 1515979 h 2237874"/>
              <a:gd name="connsiteX26" fmla="*/ 11165305 w 16747958"/>
              <a:gd name="connsiteY26" fmla="*/ 1636295 h 2237874"/>
              <a:gd name="connsiteX27" fmla="*/ 12729411 w 16747958"/>
              <a:gd name="connsiteY27" fmla="*/ 2021306 h 2237874"/>
              <a:gd name="connsiteX28" fmla="*/ 13090358 w 16747958"/>
              <a:gd name="connsiteY28" fmla="*/ 2093495 h 2237874"/>
              <a:gd name="connsiteX29" fmla="*/ 13306926 w 16747958"/>
              <a:gd name="connsiteY29" fmla="*/ 2117558 h 2237874"/>
              <a:gd name="connsiteX30" fmla="*/ 13980695 w 16747958"/>
              <a:gd name="connsiteY30" fmla="*/ 2213811 h 2237874"/>
              <a:gd name="connsiteX31" fmla="*/ 14461958 w 16747958"/>
              <a:gd name="connsiteY31" fmla="*/ 2237874 h 2237874"/>
              <a:gd name="connsiteX32" fmla="*/ 14702590 w 16747958"/>
              <a:gd name="connsiteY32" fmla="*/ 2213811 h 2237874"/>
              <a:gd name="connsiteX33" fmla="*/ 14991347 w 16747958"/>
              <a:gd name="connsiteY33" fmla="*/ 2165685 h 2237874"/>
              <a:gd name="connsiteX34" fmla="*/ 15207916 w 16747958"/>
              <a:gd name="connsiteY34" fmla="*/ 2069432 h 2237874"/>
              <a:gd name="connsiteX35" fmla="*/ 15400421 w 16747958"/>
              <a:gd name="connsiteY35" fmla="*/ 1949116 h 2237874"/>
              <a:gd name="connsiteX36" fmla="*/ 15641053 w 16747958"/>
              <a:gd name="connsiteY36" fmla="*/ 1804737 h 2237874"/>
              <a:gd name="connsiteX37" fmla="*/ 15761369 w 16747958"/>
              <a:gd name="connsiteY37" fmla="*/ 1756611 h 2237874"/>
              <a:gd name="connsiteX38" fmla="*/ 15881684 w 16747958"/>
              <a:gd name="connsiteY38" fmla="*/ 1636295 h 2237874"/>
              <a:gd name="connsiteX39" fmla="*/ 16170442 w 16747958"/>
              <a:gd name="connsiteY39" fmla="*/ 1371600 h 2237874"/>
              <a:gd name="connsiteX40" fmla="*/ 16290758 w 16747958"/>
              <a:gd name="connsiteY40" fmla="*/ 1203158 h 2237874"/>
              <a:gd name="connsiteX41" fmla="*/ 16483263 w 16747958"/>
              <a:gd name="connsiteY41" fmla="*/ 986590 h 2237874"/>
              <a:gd name="connsiteX42" fmla="*/ 16579516 w 16747958"/>
              <a:gd name="connsiteY42" fmla="*/ 842211 h 2237874"/>
              <a:gd name="connsiteX43" fmla="*/ 16627642 w 16747958"/>
              <a:gd name="connsiteY43" fmla="*/ 770022 h 2237874"/>
              <a:gd name="connsiteX44" fmla="*/ 16675769 w 16747958"/>
              <a:gd name="connsiteY44" fmla="*/ 673769 h 2237874"/>
              <a:gd name="connsiteX45" fmla="*/ 16723895 w 16747958"/>
              <a:gd name="connsiteY45" fmla="*/ 601579 h 2237874"/>
              <a:gd name="connsiteX46" fmla="*/ 16747958 w 16747958"/>
              <a:gd name="connsiteY46" fmla="*/ 529390 h 2237874"/>
              <a:gd name="connsiteX0" fmla="*/ 0 w 16747958"/>
              <a:gd name="connsiteY0" fmla="*/ 1540043 h 2237874"/>
              <a:gd name="connsiteX1" fmla="*/ 433137 w 16747958"/>
              <a:gd name="connsiteY1" fmla="*/ 1010653 h 2237874"/>
              <a:gd name="connsiteX2" fmla="*/ 794084 w 16747958"/>
              <a:gd name="connsiteY2" fmla="*/ 721895 h 2237874"/>
              <a:gd name="connsiteX3" fmla="*/ 1179095 w 16747958"/>
              <a:gd name="connsiteY3" fmla="*/ 529390 h 2237874"/>
              <a:gd name="connsiteX4" fmla="*/ 1732547 w 16747958"/>
              <a:gd name="connsiteY4" fmla="*/ 336885 h 2237874"/>
              <a:gd name="connsiteX5" fmla="*/ 2093495 w 16747958"/>
              <a:gd name="connsiteY5" fmla="*/ 264695 h 2237874"/>
              <a:gd name="connsiteX6" fmla="*/ 2719137 w 16747958"/>
              <a:gd name="connsiteY6" fmla="*/ 144379 h 2237874"/>
              <a:gd name="connsiteX7" fmla="*/ 3537284 w 16747958"/>
              <a:gd name="connsiteY7" fmla="*/ 48127 h 2237874"/>
              <a:gd name="connsiteX8" fmla="*/ 4307305 w 16747958"/>
              <a:gd name="connsiteY8" fmla="*/ 0 h 2237874"/>
              <a:gd name="connsiteX9" fmla="*/ 5895474 w 16747958"/>
              <a:gd name="connsiteY9" fmla="*/ 48127 h 2237874"/>
              <a:gd name="connsiteX10" fmla="*/ 6545179 w 16747958"/>
              <a:gd name="connsiteY10" fmla="*/ 144379 h 2237874"/>
              <a:gd name="connsiteX11" fmla="*/ 7146758 w 16747958"/>
              <a:gd name="connsiteY11" fmla="*/ 240632 h 2237874"/>
              <a:gd name="connsiteX12" fmla="*/ 7531769 w 16747958"/>
              <a:gd name="connsiteY12" fmla="*/ 336885 h 2237874"/>
              <a:gd name="connsiteX13" fmla="*/ 7676147 w 16747958"/>
              <a:gd name="connsiteY13" fmla="*/ 360948 h 2237874"/>
              <a:gd name="connsiteX14" fmla="*/ 8061158 w 16747958"/>
              <a:gd name="connsiteY14" fmla="*/ 457200 h 2237874"/>
              <a:gd name="connsiteX15" fmla="*/ 8253663 w 16747958"/>
              <a:gd name="connsiteY15" fmla="*/ 529390 h 2237874"/>
              <a:gd name="connsiteX16" fmla="*/ 8614611 w 16747958"/>
              <a:gd name="connsiteY16" fmla="*/ 649706 h 2237874"/>
              <a:gd name="connsiteX17" fmla="*/ 8831179 w 16747958"/>
              <a:gd name="connsiteY17" fmla="*/ 721895 h 2237874"/>
              <a:gd name="connsiteX18" fmla="*/ 8999621 w 16747958"/>
              <a:gd name="connsiteY18" fmla="*/ 794085 h 2237874"/>
              <a:gd name="connsiteX19" fmla="*/ 9288379 w 16747958"/>
              <a:gd name="connsiteY19" fmla="*/ 890337 h 2237874"/>
              <a:gd name="connsiteX20" fmla="*/ 9480884 w 16747958"/>
              <a:gd name="connsiteY20" fmla="*/ 986590 h 2237874"/>
              <a:gd name="connsiteX21" fmla="*/ 9769642 w 16747958"/>
              <a:gd name="connsiteY21" fmla="*/ 1130969 h 2237874"/>
              <a:gd name="connsiteX22" fmla="*/ 9938084 w 16747958"/>
              <a:gd name="connsiteY22" fmla="*/ 1179095 h 2237874"/>
              <a:gd name="connsiteX23" fmla="*/ 10539663 w 16747958"/>
              <a:gd name="connsiteY23" fmla="*/ 1419727 h 2237874"/>
              <a:gd name="connsiteX24" fmla="*/ 10852484 w 16747958"/>
              <a:gd name="connsiteY24" fmla="*/ 1515979 h 2237874"/>
              <a:gd name="connsiteX25" fmla="*/ 11165305 w 16747958"/>
              <a:gd name="connsiteY25" fmla="*/ 1636295 h 2237874"/>
              <a:gd name="connsiteX26" fmla="*/ 12729411 w 16747958"/>
              <a:gd name="connsiteY26" fmla="*/ 2021306 h 2237874"/>
              <a:gd name="connsiteX27" fmla="*/ 13090358 w 16747958"/>
              <a:gd name="connsiteY27" fmla="*/ 2093495 h 2237874"/>
              <a:gd name="connsiteX28" fmla="*/ 13306926 w 16747958"/>
              <a:gd name="connsiteY28" fmla="*/ 2117558 h 2237874"/>
              <a:gd name="connsiteX29" fmla="*/ 13980695 w 16747958"/>
              <a:gd name="connsiteY29" fmla="*/ 2213811 h 2237874"/>
              <a:gd name="connsiteX30" fmla="*/ 14461958 w 16747958"/>
              <a:gd name="connsiteY30" fmla="*/ 2237874 h 2237874"/>
              <a:gd name="connsiteX31" fmla="*/ 14702590 w 16747958"/>
              <a:gd name="connsiteY31" fmla="*/ 2213811 h 2237874"/>
              <a:gd name="connsiteX32" fmla="*/ 14991347 w 16747958"/>
              <a:gd name="connsiteY32" fmla="*/ 2165685 h 2237874"/>
              <a:gd name="connsiteX33" fmla="*/ 15207916 w 16747958"/>
              <a:gd name="connsiteY33" fmla="*/ 2069432 h 2237874"/>
              <a:gd name="connsiteX34" fmla="*/ 15400421 w 16747958"/>
              <a:gd name="connsiteY34" fmla="*/ 1949116 h 2237874"/>
              <a:gd name="connsiteX35" fmla="*/ 15641053 w 16747958"/>
              <a:gd name="connsiteY35" fmla="*/ 1804737 h 2237874"/>
              <a:gd name="connsiteX36" fmla="*/ 15761369 w 16747958"/>
              <a:gd name="connsiteY36" fmla="*/ 1756611 h 2237874"/>
              <a:gd name="connsiteX37" fmla="*/ 15881684 w 16747958"/>
              <a:gd name="connsiteY37" fmla="*/ 1636295 h 2237874"/>
              <a:gd name="connsiteX38" fmla="*/ 16170442 w 16747958"/>
              <a:gd name="connsiteY38" fmla="*/ 1371600 h 2237874"/>
              <a:gd name="connsiteX39" fmla="*/ 16290758 w 16747958"/>
              <a:gd name="connsiteY39" fmla="*/ 1203158 h 2237874"/>
              <a:gd name="connsiteX40" fmla="*/ 16483263 w 16747958"/>
              <a:gd name="connsiteY40" fmla="*/ 986590 h 2237874"/>
              <a:gd name="connsiteX41" fmla="*/ 16579516 w 16747958"/>
              <a:gd name="connsiteY41" fmla="*/ 842211 h 2237874"/>
              <a:gd name="connsiteX42" fmla="*/ 16627642 w 16747958"/>
              <a:gd name="connsiteY42" fmla="*/ 770022 h 2237874"/>
              <a:gd name="connsiteX43" fmla="*/ 16675769 w 16747958"/>
              <a:gd name="connsiteY43" fmla="*/ 673769 h 2237874"/>
              <a:gd name="connsiteX44" fmla="*/ 16723895 w 16747958"/>
              <a:gd name="connsiteY44" fmla="*/ 601579 h 2237874"/>
              <a:gd name="connsiteX45" fmla="*/ 16747958 w 16747958"/>
              <a:gd name="connsiteY45" fmla="*/ 529390 h 2237874"/>
              <a:gd name="connsiteX0" fmla="*/ 0 w 16747958"/>
              <a:gd name="connsiteY0" fmla="*/ 1540043 h 2237874"/>
              <a:gd name="connsiteX1" fmla="*/ 433137 w 16747958"/>
              <a:gd name="connsiteY1" fmla="*/ 1010653 h 2237874"/>
              <a:gd name="connsiteX2" fmla="*/ 1179095 w 16747958"/>
              <a:gd name="connsiteY2" fmla="*/ 529390 h 2237874"/>
              <a:gd name="connsiteX3" fmla="*/ 1732547 w 16747958"/>
              <a:gd name="connsiteY3" fmla="*/ 336885 h 2237874"/>
              <a:gd name="connsiteX4" fmla="*/ 2093495 w 16747958"/>
              <a:gd name="connsiteY4" fmla="*/ 264695 h 2237874"/>
              <a:gd name="connsiteX5" fmla="*/ 2719137 w 16747958"/>
              <a:gd name="connsiteY5" fmla="*/ 144379 h 2237874"/>
              <a:gd name="connsiteX6" fmla="*/ 3537284 w 16747958"/>
              <a:gd name="connsiteY6" fmla="*/ 48127 h 2237874"/>
              <a:gd name="connsiteX7" fmla="*/ 4307305 w 16747958"/>
              <a:gd name="connsiteY7" fmla="*/ 0 h 2237874"/>
              <a:gd name="connsiteX8" fmla="*/ 5895474 w 16747958"/>
              <a:gd name="connsiteY8" fmla="*/ 48127 h 2237874"/>
              <a:gd name="connsiteX9" fmla="*/ 6545179 w 16747958"/>
              <a:gd name="connsiteY9" fmla="*/ 144379 h 2237874"/>
              <a:gd name="connsiteX10" fmla="*/ 7146758 w 16747958"/>
              <a:gd name="connsiteY10" fmla="*/ 240632 h 2237874"/>
              <a:gd name="connsiteX11" fmla="*/ 7531769 w 16747958"/>
              <a:gd name="connsiteY11" fmla="*/ 336885 h 2237874"/>
              <a:gd name="connsiteX12" fmla="*/ 7676147 w 16747958"/>
              <a:gd name="connsiteY12" fmla="*/ 360948 h 2237874"/>
              <a:gd name="connsiteX13" fmla="*/ 8061158 w 16747958"/>
              <a:gd name="connsiteY13" fmla="*/ 457200 h 2237874"/>
              <a:gd name="connsiteX14" fmla="*/ 8253663 w 16747958"/>
              <a:gd name="connsiteY14" fmla="*/ 529390 h 2237874"/>
              <a:gd name="connsiteX15" fmla="*/ 8614611 w 16747958"/>
              <a:gd name="connsiteY15" fmla="*/ 649706 h 2237874"/>
              <a:gd name="connsiteX16" fmla="*/ 8831179 w 16747958"/>
              <a:gd name="connsiteY16" fmla="*/ 721895 h 2237874"/>
              <a:gd name="connsiteX17" fmla="*/ 8999621 w 16747958"/>
              <a:gd name="connsiteY17" fmla="*/ 794085 h 2237874"/>
              <a:gd name="connsiteX18" fmla="*/ 9288379 w 16747958"/>
              <a:gd name="connsiteY18" fmla="*/ 890337 h 2237874"/>
              <a:gd name="connsiteX19" fmla="*/ 9480884 w 16747958"/>
              <a:gd name="connsiteY19" fmla="*/ 986590 h 2237874"/>
              <a:gd name="connsiteX20" fmla="*/ 9769642 w 16747958"/>
              <a:gd name="connsiteY20" fmla="*/ 1130969 h 2237874"/>
              <a:gd name="connsiteX21" fmla="*/ 9938084 w 16747958"/>
              <a:gd name="connsiteY21" fmla="*/ 1179095 h 2237874"/>
              <a:gd name="connsiteX22" fmla="*/ 10539663 w 16747958"/>
              <a:gd name="connsiteY22" fmla="*/ 1419727 h 2237874"/>
              <a:gd name="connsiteX23" fmla="*/ 10852484 w 16747958"/>
              <a:gd name="connsiteY23" fmla="*/ 1515979 h 2237874"/>
              <a:gd name="connsiteX24" fmla="*/ 11165305 w 16747958"/>
              <a:gd name="connsiteY24" fmla="*/ 1636295 h 2237874"/>
              <a:gd name="connsiteX25" fmla="*/ 12729411 w 16747958"/>
              <a:gd name="connsiteY25" fmla="*/ 2021306 h 2237874"/>
              <a:gd name="connsiteX26" fmla="*/ 13090358 w 16747958"/>
              <a:gd name="connsiteY26" fmla="*/ 2093495 h 2237874"/>
              <a:gd name="connsiteX27" fmla="*/ 13306926 w 16747958"/>
              <a:gd name="connsiteY27" fmla="*/ 2117558 h 2237874"/>
              <a:gd name="connsiteX28" fmla="*/ 13980695 w 16747958"/>
              <a:gd name="connsiteY28" fmla="*/ 2213811 h 2237874"/>
              <a:gd name="connsiteX29" fmla="*/ 14461958 w 16747958"/>
              <a:gd name="connsiteY29" fmla="*/ 2237874 h 2237874"/>
              <a:gd name="connsiteX30" fmla="*/ 14702590 w 16747958"/>
              <a:gd name="connsiteY30" fmla="*/ 2213811 h 2237874"/>
              <a:gd name="connsiteX31" fmla="*/ 14991347 w 16747958"/>
              <a:gd name="connsiteY31" fmla="*/ 2165685 h 2237874"/>
              <a:gd name="connsiteX32" fmla="*/ 15207916 w 16747958"/>
              <a:gd name="connsiteY32" fmla="*/ 2069432 h 2237874"/>
              <a:gd name="connsiteX33" fmla="*/ 15400421 w 16747958"/>
              <a:gd name="connsiteY33" fmla="*/ 1949116 h 2237874"/>
              <a:gd name="connsiteX34" fmla="*/ 15641053 w 16747958"/>
              <a:gd name="connsiteY34" fmla="*/ 1804737 h 2237874"/>
              <a:gd name="connsiteX35" fmla="*/ 15761369 w 16747958"/>
              <a:gd name="connsiteY35" fmla="*/ 1756611 h 2237874"/>
              <a:gd name="connsiteX36" fmla="*/ 15881684 w 16747958"/>
              <a:gd name="connsiteY36" fmla="*/ 1636295 h 2237874"/>
              <a:gd name="connsiteX37" fmla="*/ 16170442 w 16747958"/>
              <a:gd name="connsiteY37" fmla="*/ 1371600 h 2237874"/>
              <a:gd name="connsiteX38" fmla="*/ 16290758 w 16747958"/>
              <a:gd name="connsiteY38" fmla="*/ 1203158 h 2237874"/>
              <a:gd name="connsiteX39" fmla="*/ 16483263 w 16747958"/>
              <a:gd name="connsiteY39" fmla="*/ 986590 h 2237874"/>
              <a:gd name="connsiteX40" fmla="*/ 16579516 w 16747958"/>
              <a:gd name="connsiteY40" fmla="*/ 842211 h 2237874"/>
              <a:gd name="connsiteX41" fmla="*/ 16627642 w 16747958"/>
              <a:gd name="connsiteY41" fmla="*/ 770022 h 2237874"/>
              <a:gd name="connsiteX42" fmla="*/ 16675769 w 16747958"/>
              <a:gd name="connsiteY42" fmla="*/ 673769 h 2237874"/>
              <a:gd name="connsiteX43" fmla="*/ 16723895 w 16747958"/>
              <a:gd name="connsiteY43" fmla="*/ 601579 h 2237874"/>
              <a:gd name="connsiteX44" fmla="*/ 16747958 w 16747958"/>
              <a:gd name="connsiteY44" fmla="*/ 529390 h 2237874"/>
              <a:gd name="connsiteX0" fmla="*/ 0 w 16747958"/>
              <a:gd name="connsiteY0" fmla="*/ 1540043 h 2237874"/>
              <a:gd name="connsiteX1" fmla="*/ 433137 w 16747958"/>
              <a:gd name="connsiteY1" fmla="*/ 1010653 h 2237874"/>
              <a:gd name="connsiteX2" fmla="*/ 1179095 w 16747958"/>
              <a:gd name="connsiteY2" fmla="*/ 529390 h 2237874"/>
              <a:gd name="connsiteX3" fmla="*/ 2093495 w 16747958"/>
              <a:gd name="connsiteY3" fmla="*/ 264695 h 2237874"/>
              <a:gd name="connsiteX4" fmla="*/ 2719137 w 16747958"/>
              <a:gd name="connsiteY4" fmla="*/ 144379 h 2237874"/>
              <a:gd name="connsiteX5" fmla="*/ 3537284 w 16747958"/>
              <a:gd name="connsiteY5" fmla="*/ 48127 h 2237874"/>
              <a:gd name="connsiteX6" fmla="*/ 4307305 w 16747958"/>
              <a:gd name="connsiteY6" fmla="*/ 0 h 2237874"/>
              <a:gd name="connsiteX7" fmla="*/ 5895474 w 16747958"/>
              <a:gd name="connsiteY7" fmla="*/ 48127 h 2237874"/>
              <a:gd name="connsiteX8" fmla="*/ 6545179 w 16747958"/>
              <a:gd name="connsiteY8" fmla="*/ 144379 h 2237874"/>
              <a:gd name="connsiteX9" fmla="*/ 7146758 w 16747958"/>
              <a:gd name="connsiteY9" fmla="*/ 240632 h 2237874"/>
              <a:gd name="connsiteX10" fmla="*/ 7531769 w 16747958"/>
              <a:gd name="connsiteY10" fmla="*/ 336885 h 2237874"/>
              <a:gd name="connsiteX11" fmla="*/ 7676147 w 16747958"/>
              <a:gd name="connsiteY11" fmla="*/ 360948 h 2237874"/>
              <a:gd name="connsiteX12" fmla="*/ 8061158 w 16747958"/>
              <a:gd name="connsiteY12" fmla="*/ 457200 h 2237874"/>
              <a:gd name="connsiteX13" fmla="*/ 8253663 w 16747958"/>
              <a:gd name="connsiteY13" fmla="*/ 529390 h 2237874"/>
              <a:gd name="connsiteX14" fmla="*/ 8614611 w 16747958"/>
              <a:gd name="connsiteY14" fmla="*/ 649706 h 2237874"/>
              <a:gd name="connsiteX15" fmla="*/ 8831179 w 16747958"/>
              <a:gd name="connsiteY15" fmla="*/ 721895 h 2237874"/>
              <a:gd name="connsiteX16" fmla="*/ 8999621 w 16747958"/>
              <a:gd name="connsiteY16" fmla="*/ 794085 h 2237874"/>
              <a:gd name="connsiteX17" fmla="*/ 9288379 w 16747958"/>
              <a:gd name="connsiteY17" fmla="*/ 890337 h 2237874"/>
              <a:gd name="connsiteX18" fmla="*/ 9480884 w 16747958"/>
              <a:gd name="connsiteY18" fmla="*/ 986590 h 2237874"/>
              <a:gd name="connsiteX19" fmla="*/ 9769642 w 16747958"/>
              <a:gd name="connsiteY19" fmla="*/ 1130969 h 2237874"/>
              <a:gd name="connsiteX20" fmla="*/ 9938084 w 16747958"/>
              <a:gd name="connsiteY20" fmla="*/ 1179095 h 2237874"/>
              <a:gd name="connsiteX21" fmla="*/ 10539663 w 16747958"/>
              <a:gd name="connsiteY21" fmla="*/ 1419727 h 2237874"/>
              <a:gd name="connsiteX22" fmla="*/ 10852484 w 16747958"/>
              <a:gd name="connsiteY22" fmla="*/ 1515979 h 2237874"/>
              <a:gd name="connsiteX23" fmla="*/ 11165305 w 16747958"/>
              <a:gd name="connsiteY23" fmla="*/ 1636295 h 2237874"/>
              <a:gd name="connsiteX24" fmla="*/ 12729411 w 16747958"/>
              <a:gd name="connsiteY24" fmla="*/ 2021306 h 2237874"/>
              <a:gd name="connsiteX25" fmla="*/ 13090358 w 16747958"/>
              <a:gd name="connsiteY25" fmla="*/ 2093495 h 2237874"/>
              <a:gd name="connsiteX26" fmla="*/ 13306926 w 16747958"/>
              <a:gd name="connsiteY26" fmla="*/ 2117558 h 2237874"/>
              <a:gd name="connsiteX27" fmla="*/ 13980695 w 16747958"/>
              <a:gd name="connsiteY27" fmla="*/ 2213811 h 2237874"/>
              <a:gd name="connsiteX28" fmla="*/ 14461958 w 16747958"/>
              <a:gd name="connsiteY28" fmla="*/ 2237874 h 2237874"/>
              <a:gd name="connsiteX29" fmla="*/ 14702590 w 16747958"/>
              <a:gd name="connsiteY29" fmla="*/ 2213811 h 2237874"/>
              <a:gd name="connsiteX30" fmla="*/ 14991347 w 16747958"/>
              <a:gd name="connsiteY30" fmla="*/ 2165685 h 2237874"/>
              <a:gd name="connsiteX31" fmla="*/ 15207916 w 16747958"/>
              <a:gd name="connsiteY31" fmla="*/ 2069432 h 2237874"/>
              <a:gd name="connsiteX32" fmla="*/ 15400421 w 16747958"/>
              <a:gd name="connsiteY32" fmla="*/ 1949116 h 2237874"/>
              <a:gd name="connsiteX33" fmla="*/ 15641053 w 16747958"/>
              <a:gd name="connsiteY33" fmla="*/ 1804737 h 2237874"/>
              <a:gd name="connsiteX34" fmla="*/ 15761369 w 16747958"/>
              <a:gd name="connsiteY34" fmla="*/ 1756611 h 2237874"/>
              <a:gd name="connsiteX35" fmla="*/ 15881684 w 16747958"/>
              <a:gd name="connsiteY35" fmla="*/ 1636295 h 2237874"/>
              <a:gd name="connsiteX36" fmla="*/ 16170442 w 16747958"/>
              <a:gd name="connsiteY36" fmla="*/ 1371600 h 2237874"/>
              <a:gd name="connsiteX37" fmla="*/ 16290758 w 16747958"/>
              <a:gd name="connsiteY37" fmla="*/ 1203158 h 2237874"/>
              <a:gd name="connsiteX38" fmla="*/ 16483263 w 16747958"/>
              <a:gd name="connsiteY38" fmla="*/ 986590 h 2237874"/>
              <a:gd name="connsiteX39" fmla="*/ 16579516 w 16747958"/>
              <a:gd name="connsiteY39" fmla="*/ 842211 h 2237874"/>
              <a:gd name="connsiteX40" fmla="*/ 16627642 w 16747958"/>
              <a:gd name="connsiteY40" fmla="*/ 770022 h 2237874"/>
              <a:gd name="connsiteX41" fmla="*/ 16675769 w 16747958"/>
              <a:gd name="connsiteY41" fmla="*/ 673769 h 2237874"/>
              <a:gd name="connsiteX42" fmla="*/ 16723895 w 16747958"/>
              <a:gd name="connsiteY42" fmla="*/ 601579 h 2237874"/>
              <a:gd name="connsiteX43" fmla="*/ 16747958 w 16747958"/>
              <a:gd name="connsiteY43" fmla="*/ 529390 h 2237874"/>
              <a:gd name="connsiteX0" fmla="*/ 0 w 16747958"/>
              <a:gd name="connsiteY0" fmla="*/ 1540043 h 2237874"/>
              <a:gd name="connsiteX1" fmla="*/ 433137 w 16747958"/>
              <a:gd name="connsiteY1" fmla="*/ 1010653 h 2237874"/>
              <a:gd name="connsiteX2" fmla="*/ 1179095 w 16747958"/>
              <a:gd name="connsiteY2" fmla="*/ 529390 h 2237874"/>
              <a:gd name="connsiteX3" fmla="*/ 2093495 w 16747958"/>
              <a:gd name="connsiteY3" fmla="*/ 264695 h 2237874"/>
              <a:gd name="connsiteX4" fmla="*/ 3537284 w 16747958"/>
              <a:gd name="connsiteY4" fmla="*/ 48127 h 2237874"/>
              <a:gd name="connsiteX5" fmla="*/ 4307305 w 16747958"/>
              <a:gd name="connsiteY5" fmla="*/ 0 h 2237874"/>
              <a:gd name="connsiteX6" fmla="*/ 5895474 w 16747958"/>
              <a:gd name="connsiteY6" fmla="*/ 48127 h 2237874"/>
              <a:gd name="connsiteX7" fmla="*/ 6545179 w 16747958"/>
              <a:gd name="connsiteY7" fmla="*/ 144379 h 2237874"/>
              <a:gd name="connsiteX8" fmla="*/ 7146758 w 16747958"/>
              <a:gd name="connsiteY8" fmla="*/ 240632 h 2237874"/>
              <a:gd name="connsiteX9" fmla="*/ 7531769 w 16747958"/>
              <a:gd name="connsiteY9" fmla="*/ 336885 h 2237874"/>
              <a:gd name="connsiteX10" fmla="*/ 7676147 w 16747958"/>
              <a:gd name="connsiteY10" fmla="*/ 360948 h 2237874"/>
              <a:gd name="connsiteX11" fmla="*/ 8061158 w 16747958"/>
              <a:gd name="connsiteY11" fmla="*/ 457200 h 2237874"/>
              <a:gd name="connsiteX12" fmla="*/ 8253663 w 16747958"/>
              <a:gd name="connsiteY12" fmla="*/ 529390 h 2237874"/>
              <a:gd name="connsiteX13" fmla="*/ 8614611 w 16747958"/>
              <a:gd name="connsiteY13" fmla="*/ 649706 h 2237874"/>
              <a:gd name="connsiteX14" fmla="*/ 8831179 w 16747958"/>
              <a:gd name="connsiteY14" fmla="*/ 721895 h 2237874"/>
              <a:gd name="connsiteX15" fmla="*/ 8999621 w 16747958"/>
              <a:gd name="connsiteY15" fmla="*/ 794085 h 2237874"/>
              <a:gd name="connsiteX16" fmla="*/ 9288379 w 16747958"/>
              <a:gd name="connsiteY16" fmla="*/ 890337 h 2237874"/>
              <a:gd name="connsiteX17" fmla="*/ 9480884 w 16747958"/>
              <a:gd name="connsiteY17" fmla="*/ 986590 h 2237874"/>
              <a:gd name="connsiteX18" fmla="*/ 9769642 w 16747958"/>
              <a:gd name="connsiteY18" fmla="*/ 1130969 h 2237874"/>
              <a:gd name="connsiteX19" fmla="*/ 9938084 w 16747958"/>
              <a:gd name="connsiteY19" fmla="*/ 1179095 h 2237874"/>
              <a:gd name="connsiteX20" fmla="*/ 10539663 w 16747958"/>
              <a:gd name="connsiteY20" fmla="*/ 1419727 h 2237874"/>
              <a:gd name="connsiteX21" fmla="*/ 10852484 w 16747958"/>
              <a:gd name="connsiteY21" fmla="*/ 1515979 h 2237874"/>
              <a:gd name="connsiteX22" fmla="*/ 11165305 w 16747958"/>
              <a:gd name="connsiteY22" fmla="*/ 1636295 h 2237874"/>
              <a:gd name="connsiteX23" fmla="*/ 12729411 w 16747958"/>
              <a:gd name="connsiteY23" fmla="*/ 2021306 h 2237874"/>
              <a:gd name="connsiteX24" fmla="*/ 13090358 w 16747958"/>
              <a:gd name="connsiteY24" fmla="*/ 2093495 h 2237874"/>
              <a:gd name="connsiteX25" fmla="*/ 13306926 w 16747958"/>
              <a:gd name="connsiteY25" fmla="*/ 2117558 h 2237874"/>
              <a:gd name="connsiteX26" fmla="*/ 13980695 w 16747958"/>
              <a:gd name="connsiteY26" fmla="*/ 2213811 h 2237874"/>
              <a:gd name="connsiteX27" fmla="*/ 14461958 w 16747958"/>
              <a:gd name="connsiteY27" fmla="*/ 2237874 h 2237874"/>
              <a:gd name="connsiteX28" fmla="*/ 14702590 w 16747958"/>
              <a:gd name="connsiteY28" fmla="*/ 2213811 h 2237874"/>
              <a:gd name="connsiteX29" fmla="*/ 14991347 w 16747958"/>
              <a:gd name="connsiteY29" fmla="*/ 2165685 h 2237874"/>
              <a:gd name="connsiteX30" fmla="*/ 15207916 w 16747958"/>
              <a:gd name="connsiteY30" fmla="*/ 2069432 h 2237874"/>
              <a:gd name="connsiteX31" fmla="*/ 15400421 w 16747958"/>
              <a:gd name="connsiteY31" fmla="*/ 1949116 h 2237874"/>
              <a:gd name="connsiteX32" fmla="*/ 15641053 w 16747958"/>
              <a:gd name="connsiteY32" fmla="*/ 1804737 h 2237874"/>
              <a:gd name="connsiteX33" fmla="*/ 15761369 w 16747958"/>
              <a:gd name="connsiteY33" fmla="*/ 1756611 h 2237874"/>
              <a:gd name="connsiteX34" fmla="*/ 15881684 w 16747958"/>
              <a:gd name="connsiteY34" fmla="*/ 1636295 h 2237874"/>
              <a:gd name="connsiteX35" fmla="*/ 16170442 w 16747958"/>
              <a:gd name="connsiteY35" fmla="*/ 1371600 h 2237874"/>
              <a:gd name="connsiteX36" fmla="*/ 16290758 w 16747958"/>
              <a:gd name="connsiteY36" fmla="*/ 1203158 h 2237874"/>
              <a:gd name="connsiteX37" fmla="*/ 16483263 w 16747958"/>
              <a:gd name="connsiteY37" fmla="*/ 986590 h 2237874"/>
              <a:gd name="connsiteX38" fmla="*/ 16579516 w 16747958"/>
              <a:gd name="connsiteY38" fmla="*/ 842211 h 2237874"/>
              <a:gd name="connsiteX39" fmla="*/ 16627642 w 16747958"/>
              <a:gd name="connsiteY39" fmla="*/ 770022 h 2237874"/>
              <a:gd name="connsiteX40" fmla="*/ 16675769 w 16747958"/>
              <a:gd name="connsiteY40" fmla="*/ 673769 h 2237874"/>
              <a:gd name="connsiteX41" fmla="*/ 16723895 w 16747958"/>
              <a:gd name="connsiteY41" fmla="*/ 601579 h 2237874"/>
              <a:gd name="connsiteX42" fmla="*/ 16747958 w 16747958"/>
              <a:gd name="connsiteY42" fmla="*/ 529390 h 2237874"/>
              <a:gd name="connsiteX0" fmla="*/ 0 w 16747958"/>
              <a:gd name="connsiteY0" fmla="*/ 1512145 h 2209976"/>
              <a:gd name="connsiteX1" fmla="*/ 433137 w 16747958"/>
              <a:gd name="connsiteY1" fmla="*/ 982755 h 2209976"/>
              <a:gd name="connsiteX2" fmla="*/ 1179095 w 16747958"/>
              <a:gd name="connsiteY2" fmla="*/ 501492 h 2209976"/>
              <a:gd name="connsiteX3" fmla="*/ 2093495 w 16747958"/>
              <a:gd name="connsiteY3" fmla="*/ 236797 h 2209976"/>
              <a:gd name="connsiteX4" fmla="*/ 3537284 w 16747958"/>
              <a:gd name="connsiteY4" fmla="*/ 20229 h 2209976"/>
              <a:gd name="connsiteX5" fmla="*/ 5895474 w 16747958"/>
              <a:gd name="connsiteY5" fmla="*/ 20229 h 2209976"/>
              <a:gd name="connsiteX6" fmla="*/ 6545179 w 16747958"/>
              <a:gd name="connsiteY6" fmla="*/ 116481 h 2209976"/>
              <a:gd name="connsiteX7" fmla="*/ 7146758 w 16747958"/>
              <a:gd name="connsiteY7" fmla="*/ 212734 h 2209976"/>
              <a:gd name="connsiteX8" fmla="*/ 7531769 w 16747958"/>
              <a:gd name="connsiteY8" fmla="*/ 308987 h 2209976"/>
              <a:gd name="connsiteX9" fmla="*/ 7676147 w 16747958"/>
              <a:gd name="connsiteY9" fmla="*/ 333050 h 2209976"/>
              <a:gd name="connsiteX10" fmla="*/ 8061158 w 16747958"/>
              <a:gd name="connsiteY10" fmla="*/ 429302 h 2209976"/>
              <a:gd name="connsiteX11" fmla="*/ 8253663 w 16747958"/>
              <a:gd name="connsiteY11" fmla="*/ 501492 h 2209976"/>
              <a:gd name="connsiteX12" fmla="*/ 8614611 w 16747958"/>
              <a:gd name="connsiteY12" fmla="*/ 621808 h 2209976"/>
              <a:gd name="connsiteX13" fmla="*/ 8831179 w 16747958"/>
              <a:gd name="connsiteY13" fmla="*/ 693997 h 2209976"/>
              <a:gd name="connsiteX14" fmla="*/ 8999621 w 16747958"/>
              <a:gd name="connsiteY14" fmla="*/ 766187 h 2209976"/>
              <a:gd name="connsiteX15" fmla="*/ 9288379 w 16747958"/>
              <a:gd name="connsiteY15" fmla="*/ 862439 h 2209976"/>
              <a:gd name="connsiteX16" fmla="*/ 9480884 w 16747958"/>
              <a:gd name="connsiteY16" fmla="*/ 958692 h 2209976"/>
              <a:gd name="connsiteX17" fmla="*/ 9769642 w 16747958"/>
              <a:gd name="connsiteY17" fmla="*/ 1103071 h 2209976"/>
              <a:gd name="connsiteX18" fmla="*/ 9938084 w 16747958"/>
              <a:gd name="connsiteY18" fmla="*/ 1151197 h 2209976"/>
              <a:gd name="connsiteX19" fmla="*/ 10539663 w 16747958"/>
              <a:gd name="connsiteY19" fmla="*/ 1391829 h 2209976"/>
              <a:gd name="connsiteX20" fmla="*/ 10852484 w 16747958"/>
              <a:gd name="connsiteY20" fmla="*/ 1488081 h 2209976"/>
              <a:gd name="connsiteX21" fmla="*/ 11165305 w 16747958"/>
              <a:gd name="connsiteY21" fmla="*/ 1608397 h 2209976"/>
              <a:gd name="connsiteX22" fmla="*/ 12729411 w 16747958"/>
              <a:gd name="connsiteY22" fmla="*/ 1993408 h 2209976"/>
              <a:gd name="connsiteX23" fmla="*/ 13090358 w 16747958"/>
              <a:gd name="connsiteY23" fmla="*/ 2065597 h 2209976"/>
              <a:gd name="connsiteX24" fmla="*/ 13306926 w 16747958"/>
              <a:gd name="connsiteY24" fmla="*/ 2089660 h 2209976"/>
              <a:gd name="connsiteX25" fmla="*/ 13980695 w 16747958"/>
              <a:gd name="connsiteY25" fmla="*/ 2185913 h 2209976"/>
              <a:gd name="connsiteX26" fmla="*/ 14461958 w 16747958"/>
              <a:gd name="connsiteY26" fmla="*/ 2209976 h 2209976"/>
              <a:gd name="connsiteX27" fmla="*/ 14702590 w 16747958"/>
              <a:gd name="connsiteY27" fmla="*/ 2185913 h 2209976"/>
              <a:gd name="connsiteX28" fmla="*/ 14991347 w 16747958"/>
              <a:gd name="connsiteY28" fmla="*/ 2137787 h 2209976"/>
              <a:gd name="connsiteX29" fmla="*/ 15207916 w 16747958"/>
              <a:gd name="connsiteY29" fmla="*/ 2041534 h 2209976"/>
              <a:gd name="connsiteX30" fmla="*/ 15400421 w 16747958"/>
              <a:gd name="connsiteY30" fmla="*/ 1921218 h 2209976"/>
              <a:gd name="connsiteX31" fmla="*/ 15641053 w 16747958"/>
              <a:gd name="connsiteY31" fmla="*/ 1776839 h 2209976"/>
              <a:gd name="connsiteX32" fmla="*/ 15761369 w 16747958"/>
              <a:gd name="connsiteY32" fmla="*/ 1728713 h 2209976"/>
              <a:gd name="connsiteX33" fmla="*/ 15881684 w 16747958"/>
              <a:gd name="connsiteY33" fmla="*/ 1608397 h 2209976"/>
              <a:gd name="connsiteX34" fmla="*/ 16170442 w 16747958"/>
              <a:gd name="connsiteY34" fmla="*/ 1343702 h 2209976"/>
              <a:gd name="connsiteX35" fmla="*/ 16290758 w 16747958"/>
              <a:gd name="connsiteY35" fmla="*/ 1175260 h 2209976"/>
              <a:gd name="connsiteX36" fmla="*/ 16483263 w 16747958"/>
              <a:gd name="connsiteY36" fmla="*/ 958692 h 2209976"/>
              <a:gd name="connsiteX37" fmla="*/ 16579516 w 16747958"/>
              <a:gd name="connsiteY37" fmla="*/ 814313 h 2209976"/>
              <a:gd name="connsiteX38" fmla="*/ 16627642 w 16747958"/>
              <a:gd name="connsiteY38" fmla="*/ 742124 h 2209976"/>
              <a:gd name="connsiteX39" fmla="*/ 16675769 w 16747958"/>
              <a:gd name="connsiteY39" fmla="*/ 645871 h 2209976"/>
              <a:gd name="connsiteX40" fmla="*/ 16723895 w 16747958"/>
              <a:gd name="connsiteY40" fmla="*/ 573681 h 2209976"/>
              <a:gd name="connsiteX41" fmla="*/ 16747958 w 16747958"/>
              <a:gd name="connsiteY41" fmla="*/ 501492 h 220997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7531769 w 16747958"/>
              <a:gd name="connsiteY7" fmla="*/ 314347 h 2215336"/>
              <a:gd name="connsiteX8" fmla="*/ 7676147 w 16747958"/>
              <a:gd name="connsiteY8" fmla="*/ 338410 h 2215336"/>
              <a:gd name="connsiteX9" fmla="*/ 8061158 w 16747958"/>
              <a:gd name="connsiteY9" fmla="*/ 434662 h 2215336"/>
              <a:gd name="connsiteX10" fmla="*/ 8253663 w 16747958"/>
              <a:gd name="connsiteY10" fmla="*/ 506852 h 2215336"/>
              <a:gd name="connsiteX11" fmla="*/ 8614611 w 16747958"/>
              <a:gd name="connsiteY11" fmla="*/ 627168 h 2215336"/>
              <a:gd name="connsiteX12" fmla="*/ 8831179 w 16747958"/>
              <a:gd name="connsiteY12" fmla="*/ 699357 h 2215336"/>
              <a:gd name="connsiteX13" fmla="*/ 8999621 w 16747958"/>
              <a:gd name="connsiteY13" fmla="*/ 771547 h 2215336"/>
              <a:gd name="connsiteX14" fmla="*/ 9288379 w 16747958"/>
              <a:gd name="connsiteY14" fmla="*/ 867799 h 2215336"/>
              <a:gd name="connsiteX15" fmla="*/ 9480884 w 16747958"/>
              <a:gd name="connsiteY15" fmla="*/ 964052 h 2215336"/>
              <a:gd name="connsiteX16" fmla="*/ 9769642 w 16747958"/>
              <a:gd name="connsiteY16" fmla="*/ 1108431 h 2215336"/>
              <a:gd name="connsiteX17" fmla="*/ 9938084 w 16747958"/>
              <a:gd name="connsiteY17" fmla="*/ 1156557 h 2215336"/>
              <a:gd name="connsiteX18" fmla="*/ 10539663 w 16747958"/>
              <a:gd name="connsiteY18" fmla="*/ 1397189 h 2215336"/>
              <a:gd name="connsiteX19" fmla="*/ 10852484 w 16747958"/>
              <a:gd name="connsiteY19" fmla="*/ 1493441 h 2215336"/>
              <a:gd name="connsiteX20" fmla="*/ 11165305 w 16747958"/>
              <a:gd name="connsiteY20" fmla="*/ 1613757 h 2215336"/>
              <a:gd name="connsiteX21" fmla="*/ 12729411 w 16747958"/>
              <a:gd name="connsiteY21" fmla="*/ 1998768 h 2215336"/>
              <a:gd name="connsiteX22" fmla="*/ 13090358 w 16747958"/>
              <a:gd name="connsiteY22" fmla="*/ 2070957 h 2215336"/>
              <a:gd name="connsiteX23" fmla="*/ 13306926 w 16747958"/>
              <a:gd name="connsiteY23" fmla="*/ 2095020 h 2215336"/>
              <a:gd name="connsiteX24" fmla="*/ 13980695 w 16747958"/>
              <a:gd name="connsiteY24" fmla="*/ 2191273 h 2215336"/>
              <a:gd name="connsiteX25" fmla="*/ 14461958 w 16747958"/>
              <a:gd name="connsiteY25" fmla="*/ 2215336 h 2215336"/>
              <a:gd name="connsiteX26" fmla="*/ 14702590 w 16747958"/>
              <a:gd name="connsiteY26" fmla="*/ 2191273 h 2215336"/>
              <a:gd name="connsiteX27" fmla="*/ 14991347 w 16747958"/>
              <a:gd name="connsiteY27" fmla="*/ 2143147 h 2215336"/>
              <a:gd name="connsiteX28" fmla="*/ 15207916 w 16747958"/>
              <a:gd name="connsiteY28" fmla="*/ 2046894 h 2215336"/>
              <a:gd name="connsiteX29" fmla="*/ 15400421 w 16747958"/>
              <a:gd name="connsiteY29" fmla="*/ 1926578 h 2215336"/>
              <a:gd name="connsiteX30" fmla="*/ 15641053 w 16747958"/>
              <a:gd name="connsiteY30" fmla="*/ 1782199 h 2215336"/>
              <a:gd name="connsiteX31" fmla="*/ 15761369 w 16747958"/>
              <a:gd name="connsiteY31" fmla="*/ 1734073 h 2215336"/>
              <a:gd name="connsiteX32" fmla="*/ 15881684 w 16747958"/>
              <a:gd name="connsiteY32" fmla="*/ 1613757 h 2215336"/>
              <a:gd name="connsiteX33" fmla="*/ 16170442 w 16747958"/>
              <a:gd name="connsiteY33" fmla="*/ 1349062 h 2215336"/>
              <a:gd name="connsiteX34" fmla="*/ 16290758 w 16747958"/>
              <a:gd name="connsiteY34" fmla="*/ 1180620 h 2215336"/>
              <a:gd name="connsiteX35" fmla="*/ 16483263 w 16747958"/>
              <a:gd name="connsiteY35" fmla="*/ 964052 h 2215336"/>
              <a:gd name="connsiteX36" fmla="*/ 16579516 w 16747958"/>
              <a:gd name="connsiteY36" fmla="*/ 819673 h 2215336"/>
              <a:gd name="connsiteX37" fmla="*/ 16627642 w 16747958"/>
              <a:gd name="connsiteY37" fmla="*/ 747484 h 2215336"/>
              <a:gd name="connsiteX38" fmla="*/ 16675769 w 16747958"/>
              <a:gd name="connsiteY38" fmla="*/ 651231 h 2215336"/>
              <a:gd name="connsiteX39" fmla="*/ 16723895 w 16747958"/>
              <a:gd name="connsiteY39" fmla="*/ 579041 h 2215336"/>
              <a:gd name="connsiteX40" fmla="*/ 16747958 w 16747958"/>
              <a:gd name="connsiteY40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7676147 w 16747958"/>
              <a:gd name="connsiteY7" fmla="*/ 338410 h 2215336"/>
              <a:gd name="connsiteX8" fmla="*/ 8061158 w 16747958"/>
              <a:gd name="connsiteY8" fmla="*/ 434662 h 2215336"/>
              <a:gd name="connsiteX9" fmla="*/ 8253663 w 16747958"/>
              <a:gd name="connsiteY9" fmla="*/ 506852 h 2215336"/>
              <a:gd name="connsiteX10" fmla="*/ 8614611 w 16747958"/>
              <a:gd name="connsiteY10" fmla="*/ 627168 h 2215336"/>
              <a:gd name="connsiteX11" fmla="*/ 8831179 w 16747958"/>
              <a:gd name="connsiteY11" fmla="*/ 699357 h 2215336"/>
              <a:gd name="connsiteX12" fmla="*/ 8999621 w 16747958"/>
              <a:gd name="connsiteY12" fmla="*/ 771547 h 2215336"/>
              <a:gd name="connsiteX13" fmla="*/ 9288379 w 16747958"/>
              <a:gd name="connsiteY13" fmla="*/ 867799 h 2215336"/>
              <a:gd name="connsiteX14" fmla="*/ 9480884 w 16747958"/>
              <a:gd name="connsiteY14" fmla="*/ 964052 h 2215336"/>
              <a:gd name="connsiteX15" fmla="*/ 9769642 w 16747958"/>
              <a:gd name="connsiteY15" fmla="*/ 1108431 h 2215336"/>
              <a:gd name="connsiteX16" fmla="*/ 9938084 w 16747958"/>
              <a:gd name="connsiteY16" fmla="*/ 1156557 h 2215336"/>
              <a:gd name="connsiteX17" fmla="*/ 10539663 w 16747958"/>
              <a:gd name="connsiteY17" fmla="*/ 1397189 h 2215336"/>
              <a:gd name="connsiteX18" fmla="*/ 10852484 w 16747958"/>
              <a:gd name="connsiteY18" fmla="*/ 1493441 h 2215336"/>
              <a:gd name="connsiteX19" fmla="*/ 11165305 w 16747958"/>
              <a:gd name="connsiteY19" fmla="*/ 1613757 h 2215336"/>
              <a:gd name="connsiteX20" fmla="*/ 12729411 w 16747958"/>
              <a:gd name="connsiteY20" fmla="*/ 1998768 h 2215336"/>
              <a:gd name="connsiteX21" fmla="*/ 13090358 w 16747958"/>
              <a:gd name="connsiteY21" fmla="*/ 2070957 h 2215336"/>
              <a:gd name="connsiteX22" fmla="*/ 13306926 w 16747958"/>
              <a:gd name="connsiteY22" fmla="*/ 2095020 h 2215336"/>
              <a:gd name="connsiteX23" fmla="*/ 13980695 w 16747958"/>
              <a:gd name="connsiteY23" fmla="*/ 2191273 h 2215336"/>
              <a:gd name="connsiteX24" fmla="*/ 14461958 w 16747958"/>
              <a:gd name="connsiteY24" fmla="*/ 2215336 h 2215336"/>
              <a:gd name="connsiteX25" fmla="*/ 14702590 w 16747958"/>
              <a:gd name="connsiteY25" fmla="*/ 2191273 h 2215336"/>
              <a:gd name="connsiteX26" fmla="*/ 14991347 w 16747958"/>
              <a:gd name="connsiteY26" fmla="*/ 2143147 h 2215336"/>
              <a:gd name="connsiteX27" fmla="*/ 15207916 w 16747958"/>
              <a:gd name="connsiteY27" fmla="*/ 2046894 h 2215336"/>
              <a:gd name="connsiteX28" fmla="*/ 15400421 w 16747958"/>
              <a:gd name="connsiteY28" fmla="*/ 1926578 h 2215336"/>
              <a:gd name="connsiteX29" fmla="*/ 15641053 w 16747958"/>
              <a:gd name="connsiteY29" fmla="*/ 1782199 h 2215336"/>
              <a:gd name="connsiteX30" fmla="*/ 15761369 w 16747958"/>
              <a:gd name="connsiteY30" fmla="*/ 1734073 h 2215336"/>
              <a:gd name="connsiteX31" fmla="*/ 15881684 w 16747958"/>
              <a:gd name="connsiteY31" fmla="*/ 1613757 h 2215336"/>
              <a:gd name="connsiteX32" fmla="*/ 16170442 w 16747958"/>
              <a:gd name="connsiteY32" fmla="*/ 1349062 h 2215336"/>
              <a:gd name="connsiteX33" fmla="*/ 16290758 w 16747958"/>
              <a:gd name="connsiteY33" fmla="*/ 1180620 h 2215336"/>
              <a:gd name="connsiteX34" fmla="*/ 16483263 w 16747958"/>
              <a:gd name="connsiteY34" fmla="*/ 964052 h 2215336"/>
              <a:gd name="connsiteX35" fmla="*/ 16579516 w 16747958"/>
              <a:gd name="connsiteY35" fmla="*/ 819673 h 2215336"/>
              <a:gd name="connsiteX36" fmla="*/ 16627642 w 16747958"/>
              <a:gd name="connsiteY36" fmla="*/ 747484 h 2215336"/>
              <a:gd name="connsiteX37" fmla="*/ 16675769 w 16747958"/>
              <a:gd name="connsiteY37" fmla="*/ 651231 h 2215336"/>
              <a:gd name="connsiteX38" fmla="*/ 16723895 w 16747958"/>
              <a:gd name="connsiteY38" fmla="*/ 579041 h 2215336"/>
              <a:gd name="connsiteX39" fmla="*/ 16747958 w 16747958"/>
              <a:gd name="connsiteY39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253663 w 16747958"/>
              <a:gd name="connsiteY8" fmla="*/ 506852 h 2215336"/>
              <a:gd name="connsiteX9" fmla="*/ 8614611 w 16747958"/>
              <a:gd name="connsiteY9" fmla="*/ 627168 h 2215336"/>
              <a:gd name="connsiteX10" fmla="*/ 8831179 w 16747958"/>
              <a:gd name="connsiteY10" fmla="*/ 699357 h 2215336"/>
              <a:gd name="connsiteX11" fmla="*/ 8999621 w 16747958"/>
              <a:gd name="connsiteY11" fmla="*/ 771547 h 2215336"/>
              <a:gd name="connsiteX12" fmla="*/ 9288379 w 16747958"/>
              <a:gd name="connsiteY12" fmla="*/ 867799 h 2215336"/>
              <a:gd name="connsiteX13" fmla="*/ 9480884 w 16747958"/>
              <a:gd name="connsiteY13" fmla="*/ 964052 h 2215336"/>
              <a:gd name="connsiteX14" fmla="*/ 9769642 w 16747958"/>
              <a:gd name="connsiteY14" fmla="*/ 1108431 h 2215336"/>
              <a:gd name="connsiteX15" fmla="*/ 9938084 w 16747958"/>
              <a:gd name="connsiteY15" fmla="*/ 1156557 h 2215336"/>
              <a:gd name="connsiteX16" fmla="*/ 10539663 w 16747958"/>
              <a:gd name="connsiteY16" fmla="*/ 1397189 h 2215336"/>
              <a:gd name="connsiteX17" fmla="*/ 10852484 w 16747958"/>
              <a:gd name="connsiteY17" fmla="*/ 1493441 h 2215336"/>
              <a:gd name="connsiteX18" fmla="*/ 11165305 w 16747958"/>
              <a:gd name="connsiteY18" fmla="*/ 1613757 h 2215336"/>
              <a:gd name="connsiteX19" fmla="*/ 12729411 w 16747958"/>
              <a:gd name="connsiteY19" fmla="*/ 1998768 h 2215336"/>
              <a:gd name="connsiteX20" fmla="*/ 13090358 w 16747958"/>
              <a:gd name="connsiteY20" fmla="*/ 2070957 h 2215336"/>
              <a:gd name="connsiteX21" fmla="*/ 13306926 w 16747958"/>
              <a:gd name="connsiteY21" fmla="*/ 2095020 h 2215336"/>
              <a:gd name="connsiteX22" fmla="*/ 13980695 w 16747958"/>
              <a:gd name="connsiteY22" fmla="*/ 2191273 h 2215336"/>
              <a:gd name="connsiteX23" fmla="*/ 14461958 w 16747958"/>
              <a:gd name="connsiteY23" fmla="*/ 2215336 h 2215336"/>
              <a:gd name="connsiteX24" fmla="*/ 14702590 w 16747958"/>
              <a:gd name="connsiteY24" fmla="*/ 2191273 h 2215336"/>
              <a:gd name="connsiteX25" fmla="*/ 14991347 w 16747958"/>
              <a:gd name="connsiteY25" fmla="*/ 2143147 h 2215336"/>
              <a:gd name="connsiteX26" fmla="*/ 15207916 w 16747958"/>
              <a:gd name="connsiteY26" fmla="*/ 2046894 h 2215336"/>
              <a:gd name="connsiteX27" fmla="*/ 15400421 w 16747958"/>
              <a:gd name="connsiteY27" fmla="*/ 1926578 h 2215336"/>
              <a:gd name="connsiteX28" fmla="*/ 15641053 w 16747958"/>
              <a:gd name="connsiteY28" fmla="*/ 1782199 h 2215336"/>
              <a:gd name="connsiteX29" fmla="*/ 15761369 w 16747958"/>
              <a:gd name="connsiteY29" fmla="*/ 1734073 h 2215336"/>
              <a:gd name="connsiteX30" fmla="*/ 15881684 w 16747958"/>
              <a:gd name="connsiteY30" fmla="*/ 1613757 h 2215336"/>
              <a:gd name="connsiteX31" fmla="*/ 16170442 w 16747958"/>
              <a:gd name="connsiteY31" fmla="*/ 1349062 h 2215336"/>
              <a:gd name="connsiteX32" fmla="*/ 16290758 w 16747958"/>
              <a:gd name="connsiteY32" fmla="*/ 1180620 h 2215336"/>
              <a:gd name="connsiteX33" fmla="*/ 16483263 w 16747958"/>
              <a:gd name="connsiteY33" fmla="*/ 964052 h 2215336"/>
              <a:gd name="connsiteX34" fmla="*/ 16579516 w 16747958"/>
              <a:gd name="connsiteY34" fmla="*/ 819673 h 2215336"/>
              <a:gd name="connsiteX35" fmla="*/ 16627642 w 16747958"/>
              <a:gd name="connsiteY35" fmla="*/ 747484 h 2215336"/>
              <a:gd name="connsiteX36" fmla="*/ 16675769 w 16747958"/>
              <a:gd name="connsiteY36" fmla="*/ 651231 h 2215336"/>
              <a:gd name="connsiteX37" fmla="*/ 16723895 w 16747958"/>
              <a:gd name="connsiteY37" fmla="*/ 579041 h 2215336"/>
              <a:gd name="connsiteX38" fmla="*/ 16747958 w 16747958"/>
              <a:gd name="connsiteY38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253663 w 16747958"/>
              <a:gd name="connsiteY8" fmla="*/ 506852 h 2215336"/>
              <a:gd name="connsiteX9" fmla="*/ 8614611 w 16747958"/>
              <a:gd name="connsiteY9" fmla="*/ 627168 h 2215336"/>
              <a:gd name="connsiteX10" fmla="*/ 8999621 w 16747958"/>
              <a:gd name="connsiteY10" fmla="*/ 771547 h 2215336"/>
              <a:gd name="connsiteX11" fmla="*/ 9288379 w 16747958"/>
              <a:gd name="connsiteY11" fmla="*/ 867799 h 2215336"/>
              <a:gd name="connsiteX12" fmla="*/ 9480884 w 16747958"/>
              <a:gd name="connsiteY12" fmla="*/ 964052 h 2215336"/>
              <a:gd name="connsiteX13" fmla="*/ 9769642 w 16747958"/>
              <a:gd name="connsiteY13" fmla="*/ 1108431 h 2215336"/>
              <a:gd name="connsiteX14" fmla="*/ 9938084 w 16747958"/>
              <a:gd name="connsiteY14" fmla="*/ 1156557 h 2215336"/>
              <a:gd name="connsiteX15" fmla="*/ 10539663 w 16747958"/>
              <a:gd name="connsiteY15" fmla="*/ 1397189 h 2215336"/>
              <a:gd name="connsiteX16" fmla="*/ 10852484 w 16747958"/>
              <a:gd name="connsiteY16" fmla="*/ 1493441 h 2215336"/>
              <a:gd name="connsiteX17" fmla="*/ 11165305 w 16747958"/>
              <a:gd name="connsiteY17" fmla="*/ 1613757 h 2215336"/>
              <a:gd name="connsiteX18" fmla="*/ 12729411 w 16747958"/>
              <a:gd name="connsiteY18" fmla="*/ 1998768 h 2215336"/>
              <a:gd name="connsiteX19" fmla="*/ 13090358 w 16747958"/>
              <a:gd name="connsiteY19" fmla="*/ 2070957 h 2215336"/>
              <a:gd name="connsiteX20" fmla="*/ 13306926 w 16747958"/>
              <a:gd name="connsiteY20" fmla="*/ 2095020 h 2215336"/>
              <a:gd name="connsiteX21" fmla="*/ 13980695 w 16747958"/>
              <a:gd name="connsiteY21" fmla="*/ 2191273 h 2215336"/>
              <a:gd name="connsiteX22" fmla="*/ 14461958 w 16747958"/>
              <a:gd name="connsiteY22" fmla="*/ 2215336 h 2215336"/>
              <a:gd name="connsiteX23" fmla="*/ 14702590 w 16747958"/>
              <a:gd name="connsiteY23" fmla="*/ 2191273 h 2215336"/>
              <a:gd name="connsiteX24" fmla="*/ 14991347 w 16747958"/>
              <a:gd name="connsiteY24" fmla="*/ 2143147 h 2215336"/>
              <a:gd name="connsiteX25" fmla="*/ 15207916 w 16747958"/>
              <a:gd name="connsiteY25" fmla="*/ 2046894 h 2215336"/>
              <a:gd name="connsiteX26" fmla="*/ 15400421 w 16747958"/>
              <a:gd name="connsiteY26" fmla="*/ 1926578 h 2215336"/>
              <a:gd name="connsiteX27" fmla="*/ 15641053 w 16747958"/>
              <a:gd name="connsiteY27" fmla="*/ 1782199 h 2215336"/>
              <a:gd name="connsiteX28" fmla="*/ 15761369 w 16747958"/>
              <a:gd name="connsiteY28" fmla="*/ 1734073 h 2215336"/>
              <a:gd name="connsiteX29" fmla="*/ 15881684 w 16747958"/>
              <a:gd name="connsiteY29" fmla="*/ 1613757 h 2215336"/>
              <a:gd name="connsiteX30" fmla="*/ 16170442 w 16747958"/>
              <a:gd name="connsiteY30" fmla="*/ 1349062 h 2215336"/>
              <a:gd name="connsiteX31" fmla="*/ 16290758 w 16747958"/>
              <a:gd name="connsiteY31" fmla="*/ 1180620 h 2215336"/>
              <a:gd name="connsiteX32" fmla="*/ 16483263 w 16747958"/>
              <a:gd name="connsiteY32" fmla="*/ 964052 h 2215336"/>
              <a:gd name="connsiteX33" fmla="*/ 16579516 w 16747958"/>
              <a:gd name="connsiteY33" fmla="*/ 819673 h 2215336"/>
              <a:gd name="connsiteX34" fmla="*/ 16627642 w 16747958"/>
              <a:gd name="connsiteY34" fmla="*/ 747484 h 2215336"/>
              <a:gd name="connsiteX35" fmla="*/ 16675769 w 16747958"/>
              <a:gd name="connsiteY35" fmla="*/ 651231 h 2215336"/>
              <a:gd name="connsiteX36" fmla="*/ 16723895 w 16747958"/>
              <a:gd name="connsiteY36" fmla="*/ 579041 h 2215336"/>
              <a:gd name="connsiteX37" fmla="*/ 16747958 w 16747958"/>
              <a:gd name="connsiteY37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480884 w 16747958"/>
              <a:gd name="connsiteY11" fmla="*/ 964052 h 2215336"/>
              <a:gd name="connsiteX12" fmla="*/ 9769642 w 16747958"/>
              <a:gd name="connsiteY12" fmla="*/ 1108431 h 2215336"/>
              <a:gd name="connsiteX13" fmla="*/ 9938084 w 16747958"/>
              <a:gd name="connsiteY13" fmla="*/ 1156557 h 2215336"/>
              <a:gd name="connsiteX14" fmla="*/ 10539663 w 16747958"/>
              <a:gd name="connsiteY14" fmla="*/ 1397189 h 2215336"/>
              <a:gd name="connsiteX15" fmla="*/ 10852484 w 16747958"/>
              <a:gd name="connsiteY15" fmla="*/ 1493441 h 2215336"/>
              <a:gd name="connsiteX16" fmla="*/ 11165305 w 16747958"/>
              <a:gd name="connsiteY16" fmla="*/ 1613757 h 2215336"/>
              <a:gd name="connsiteX17" fmla="*/ 12729411 w 16747958"/>
              <a:gd name="connsiteY17" fmla="*/ 1998768 h 2215336"/>
              <a:gd name="connsiteX18" fmla="*/ 13090358 w 16747958"/>
              <a:gd name="connsiteY18" fmla="*/ 2070957 h 2215336"/>
              <a:gd name="connsiteX19" fmla="*/ 13306926 w 16747958"/>
              <a:gd name="connsiteY19" fmla="*/ 2095020 h 2215336"/>
              <a:gd name="connsiteX20" fmla="*/ 13980695 w 16747958"/>
              <a:gd name="connsiteY20" fmla="*/ 2191273 h 2215336"/>
              <a:gd name="connsiteX21" fmla="*/ 14461958 w 16747958"/>
              <a:gd name="connsiteY21" fmla="*/ 2215336 h 2215336"/>
              <a:gd name="connsiteX22" fmla="*/ 14702590 w 16747958"/>
              <a:gd name="connsiteY22" fmla="*/ 2191273 h 2215336"/>
              <a:gd name="connsiteX23" fmla="*/ 14991347 w 16747958"/>
              <a:gd name="connsiteY23" fmla="*/ 2143147 h 2215336"/>
              <a:gd name="connsiteX24" fmla="*/ 15207916 w 16747958"/>
              <a:gd name="connsiteY24" fmla="*/ 2046894 h 2215336"/>
              <a:gd name="connsiteX25" fmla="*/ 15400421 w 16747958"/>
              <a:gd name="connsiteY25" fmla="*/ 1926578 h 2215336"/>
              <a:gd name="connsiteX26" fmla="*/ 15641053 w 16747958"/>
              <a:gd name="connsiteY26" fmla="*/ 1782199 h 2215336"/>
              <a:gd name="connsiteX27" fmla="*/ 15761369 w 16747958"/>
              <a:gd name="connsiteY27" fmla="*/ 1734073 h 2215336"/>
              <a:gd name="connsiteX28" fmla="*/ 15881684 w 16747958"/>
              <a:gd name="connsiteY28" fmla="*/ 1613757 h 2215336"/>
              <a:gd name="connsiteX29" fmla="*/ 16170442 w 16747958"/>
              <a:gd name="connsiteY29" fmla="*/ 1349062 h 2215336"/>
              <a:gd name="connsiteX30" fmla="*/ 16290758 w 16747958"/>
              <a:gd name="connsiteY30" fmla="*/ 1180620 h 2215336"/>
              <a:gd name="connsiteX31" fmla="*/ 16483263 w 16747958"/>
              <a:gd name="connsiteY31" fmla="*/ 964052 h 2215336"/>
              <a:gd name="connsiteX32" fmla="*/ 16579516 w 16747958"/>
              <a:gd name="connsiteY32" fmla="*/ 819673 h 2215336"/>
              <a:gd name="connsiteX33" fmla="*/ 16627642 w 16747958"/>
              <a:gd name="connsiteY33" fmla="*/ 747484 h 2215336"/>
              <a:gd name="connsiteX34" fmla="*/ 16675769 w 16747958"/>
              <a:gd name="connsiteY34" fmla="*/ 651231 h 2215336"/>
              <a:gd name="connsiteX35" fmla="*/ 16723895 w 16747958"/>
              <a:gd name="connsiteY35" fmla="*/ 579041 h 2215336"/>
              <a:gd name="connsiteX36" fmla="*/ 16747958 w 16747958"/>
              <a:gd name="connsiteY36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769642 w 16747958"/>
              <a:gd name="connsiteY11" fmla="*/ 1108431 h 2215336"/>
              <a:gd name="connsiteX12" fmla="*/ 9938084 w 16747958"/>
              <a:gd name="connsiteY12" fmla="*/ 1156557 h 2215336"/>
              <a:gd name="connsiteX13" fmla="*/ 10539663 w 16747958"/>
              <a:gd name="connsiteY13" fmla="*/ 1397189 h 2215336"/>
              <a:gd name="connsiteX14" fmla="*/ 10852484 w 16747958"/>
              <a:gd name="connsiteY14" fmla="*/ 1493441 h 2215336"/>
              <a:gd name="connsiteX15" fmla="*/ 11165305 w 16747958"/>
              <a:gd name="connsiteY15" fmla="*/ 1613757 h 2215336"/>
              <a:gd name="connsiteX16" fmla="*/ 12729411 w 16747958"/>
              <a:gd name="connsiteY16" fmla="*/ 1998768 h 2215336"/>
              <a:gd name="connsiteX17" fmla="*/ 13090358 w 16747958"/>
              <a:gd name="connsiteY17" fmla="*/ 2070957 h 2215336"/>
              <a:gd name="connsiteX18" fmla="*/ 13306926 w 16747958"/>
              <a:gd name="connsiteY18" fmla="*/ 2095020 h 2215336"/>
              <a:gd name="connsiteX19" fmla="*/ 13980695 w 16747958"/>
              <a:gd name="connsiteY19" fmla="*/ 2191273 h 2215336"/>
              <a:gd name="connsiteX20" fmla="*/ 14461958 w 16747958"/>
              <a:gd name="connsiteY20" fmla="*/ 2215336 h 2215336"/>
              <a:gd name="connsiteX21" fmla="*/ 14702590 w 16747958"/>
              <a:gd name="connsiteY21" fmla="*/ 2191273 h 2215336"/>
              <a:gd name="connsiteX22" fmla="*/ 14991347 w 16747958"/>
              <a:gd name="connsiteY22" fmla="*/ 2143147 h 2215336"/>
              <a:gd name="connsiteX23" fmla="*/ 15207916 w 16747958"/>
              <a:gd name="connsiteY23" fmla="*/ 2046894 h 2215336"/>
              <a:gd name="connsiteX24" fmla="*/ 15400421 w 16747958"/>
              <a:gd name="connsiteY24" fmla="*/ 1926578 h 2215336"/>
              <a:gd name="connsiteX25" fmla="*/ 15641053 w 16747958"/>
              <a:gd name="connsiteY25" fmla="*/ 1782199 h 2215336"/>
              <a:gd name="connsiteX26" fmla="*/ 15761369 w 16747958"/>
              <a:gd name="connsiteY26" fmla="*/ 1734073 h 2215336"/>
              <a:gd name="connsiteX27" fmla="*/ 15881684 w 16747958"/>
              <a:gd name="connsiteY27" fmla="*/ 1613757 h 2215336"/>
              <a:gd name="connsiteX28" fmla="*/ 16170442 w 16747958"/>
              <a:gd name="connsiteY28" fmla="*/ 1349062 h 2215336"/>
              <a:gd name="connsiteX29" fmla="*/ 16290758 w 16747958"/>
              <a:gd name="connsiteY29" fmla="*/ 1180620 h 2215336"/>
              <a:gd name="connsiteX30" fmla="*/ 16483263 w 16747958"/>
              <a:gd name="connsiteY30" fmla="*/ 964052 h 2215336"/>
              <a:gd name="connsiteX31" fmla="*/ 16579516 w 16747958"/>
              <a:gd name="connsiteY31" fmla="*/ 819673 h 2215336"/>
              <a:gd name="connsiteX32" fmla="*/ 16627642 w 16747958"/>
              <a:gd name="connsiteY32" fmla="*/ 747484 h 2215336"/>
              <a:gd name="connsiteX33" fmla="*/ 16675769 w 16747958"/>
              <a:gd name="connsiteY33" fmla="*/ 651231 h 2215336"/>
              <a:gd name="connsiteX34" fmla="*/ 16723895 w 16747958"/>
              <a:gd name="connsiteY34" fmla="*/ 579041 h 2215336"/>
              <a:gd name="connsiteX35" fmla="*/ 16747958 w 16747958"/>
              <a:gd name="connsiteY35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0852484 w 16747958"/>
              <a:gd name="connsiteY13" fmla="*/ 1493441 h 2215336"/>
              <a:gd name="connsiteX14" fmla="*/ 11165305 w 16747958"/>
              <a:gd name="connsiteY14" fmla="*/ 1613757 h 2215336"/>
              <a:gd name="connsiteX15" fmla="*/ 12729411 w 16747958"/>
              <a:gd name="connsiteY15" fmla="*/ 1998768 h 2215336"/>
              <a:gd name="connsiteX16" fmla="*/ 13090358 w 16747958"/>
              <a:gd name="connsiteY16" fmla="*/ 2070957 h 2215336"/>
              <a:gd name="connsiteX17" fmla="*/ 13306926 w 16747958"/>
              <a:gd name="connsiteY17" fmla="*/ 2095020 h 2215336"/>
              <a:gd name="connsiteX18" fmla="*/ 13980695 w 16747958"/>
              <a:gd name="connsiteY18" fmla="*/ 2191273 h 2215336"/>
              <a:gd name="connsiteX19" fmla="*/ 14461958 w 16747958"/>
              <a:gd name="connsiteY19" fmla="*/ 2215336 h 2215336"/>
              <a:gd name="connsiteX20" fmla="*/ 14702590 w 16747958"/>
              <a:gd name="connsiteY20" fmla="*/ 2191273 h 2215336"/>
              <a:gd name="connsiteX21" fmla="*/ 14991347 w 16747958"/>
              <a:gd name="connsiteY21" fmla="*/ 2143147 h 2215336"/>
              <a:gd name="connsiteX22" fmla="*/ 15207916 w 16747958"/>
              <a:gd name="connsiteY22" fmla="*/ 2046894 h 2215336"/>
              <a:gd name="connsiteX23" fmla="*/ 15400421 w 16747958"/>
              <a:gd name="connsiteY23" fmla="*/ 1926578 h 2215336"/>
              <a:gd name="connsiteX24" fmla="*/ 15641053 w 16747958"/>
              <a:gd name="connsiteY24" fmla="*/ 1782199 h 2215336"/>
              <a:gd name="connsiteX25" fmla="*/ 15761369 w 16747958"/>
              <a:gd name="connsiteY25" fmla="*/ 1734073 h 2215336"/>
              <a:gd name="connsiteX26" fmla="*/ 15881684 w 16747958"/>
              <a:gd name="connsiteY26" fmla="*/ 1613757 h 2215336"/>
              <a:gd name="connsiteX27" fmla="*/ 16170442 w 16747958"/>
              <a:gd name="connsiteY27" fmla="*/ 1349062 h 2215336"/>
              <a:gd name="connsiteX28" fmla="*/ 16290758 w 16747958"/>
              <a:gd name="connsiteY28" fmla="*/ 1180620 h 2215336"/>
              <a:gd name="connsiteX29" fmla="*/ 16483263 w 16747958"/>
              <a:gd name="connsiteY29" fmla="*/ 964052 h 2215336"/>
              <a:gd name="connsiteX30" fmla="*/ 16579516 w 16747958"/>
              <a:gd name="connsiteY30" fmla="*/ 819673 h 2215336"/>
              <a:gd name="connsiteX31" fmla="*/ 16627642 w 16747958"/>
              <a:gd name="connsiteY31" fmla="*/ 747484 h 2215336"/>
              <a:gd name="connsiteX32" fmla="*/ 16675769 w 16747958"/>
              <a:gd name="connsiteY32" fmla="*/ 651231 h 2215336"/>
              <a:gd name="connsiteX33" fmla="*/ 16723895 w 16747958"/>
              <a:gd name="connsiteY33" fmla="*/ 579041 h 2215336"/>
              <a:gd name="connsiteX34" fmla="*/ 16747958 w 16747958"/>
              <a:gd name="connsiteY34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090358 w 16747958"/>
              <a:gd name="connsiteY15" fmla="*/ 2070957 h 2215336"/>
              <a:gd name="connsiteX16" fmla="*/ 13306926 w 16747958"/>
              <a:gd name="connsiteY16" fmla="*/ 2095020 h 2215336"/>
              <a:gd name="connsiteX17" fmla="*/ 13980695 w 16747958"/>
              <a:gd name="connsiteY17" fmla="*/ 2191273 h 2215336"/>
              <a:gd name="connsiteX18" fmla="*/ 14461958 w 16747958"/>
              <a:gd name="connsiteY18" fmla="*/ 2215336 h 2215336"/>
              <a:gd name="connsiteX19" fmla="*/ 14702590 w 16747958"/>
              <a:gd name="connsiteY19" fmla="*/ 2191273 h 2215336"/>
              <a:gd name="connsiteX20" fmla="*/ 14991347 w 16747958"/>
              <a:gd name="connsiteY20" fmla="*/ 2143147 h 2215336"/>
              <a:gd name="connsiteX21" fmla="*/ 15207916 w 16747958"/>
              <a:gd name="connsiteY21" fmla="*/ 2046894 h 2215336"/>
              <a:gd name="connsiteX22" fmla="*/ 15400421 w 16747958"/>
              <a:gd name="connsiteY22" fmla="*/ 1926578 h 2215336"/>
              <a:gd name="connsiteX23" fmla="*/ 15641053 w 16747958"/>
              <a:gd name="connsiteY23" fmla="*/ 1782199 h 2215336"/>
              <a:gd name="connsiteX24" fmla="*/ 15761369 w 16747958"/>
              <a:gd name="connsiteY24" fmla="*/ 1734073 h 2215336"/>
              <a:gd name="connsiteX25" fmla="*/ 15881684 w 16747958"/>
              <a:gd name="connsiteY25" fmla="*/ 1613757 h 2215336"/>
              <a:gd name="connsiteX26" fmla="*/ 16170442 w 16747958"/>
              <a:gd name="connsiteY26" fmla="*/ 1349062 h 2215336"/>
              <a:gd name="connsiteX27" fmla="*/ 16290758 w 16747958"/>
              <a:gd name="connsiteY27" fmla="*/ 1180620 h 2215336"/>
              <a:gd name="connsiteX28" fmla="*/ 16483263 w 16747958"/>
              <a:gd name="connsiteY28" fmla="*/ 964052 h 2215336"/>
              <a:gd name="connsiteX29" fmla="*/ 16579516 w 16747958"/>
              <a:gd name="connsiteY29" fmla="*/ 819673 h 2215336"/>
              <a:gd name="connsiteX30" fmla="*/ 16627642 w 16747958"/>
              <a:gd name="connsiteY30" fmla="*/ 747484 h 2215336"/>
              <a:gd name="connsiteX31" fmla="*/ 16675769 w 16747958"/>
              <a:gd name="connsiteY31" fmla="*/ 651231 h 2215336"/>
              <a:gd name="connsiteX32" fmla="*/ 16723895 w 16747958"/>
              <a:gd name="connsiteY32" fmla="*/ 579041 h 2215336"/>
              <a:gd name="connsiteX33" fmla="*/ 16747958 w 16747958"/>
              <a:gd name="connsiteY33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290758 w 16747958"/>
              <a:gd name="connsiteY26" fmla="*/ 1180620 h 2215336"/>
              <a:gd name="connsiteX27" fmla="*/ 16483263 w 16747958"/>
              <a:gd name="connsiteY27" fmla="*/ 964052 h 2215336"/>
              <a:gd name="connsiteX28" fmla="*/ 16579516 w 16747958"/>
              <a:gd name="connsiteY28" fmla="*/ 819673 h 2215336"/>
              <a:gd name="connsiteX29" fmla="*/ 16627642 w 16747958"/>
              <a:gd name="connsiteY29" fmla="*/ 747484 h 2215336"/>
              <a:gd name="connsiteX30" fmla="*/ 16675769 w 16747958"/>
              <a:gd name="connsiteY30" fmla="*/ 651231 h 2215336"/>
              <a:gd name="connsiteX31" fmla="*/ 16723895 w 16747958"/>
              <a:gd name="connsiteY31" fmla="*/ 579041 h 2215336"/>
              <a:gd name="connsiteX32" fmla="*/ 16747958 w 16747958"/>
              <a:gd name="connsiteY32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290758 w 16747958"/>
              <a:gd name="connsiteY26" fmla="*/ 1180620 h 2215336"/>
              <a:gd name="connsiteX27" fmla="*/ 16483263 w 16747958"/>
              <a:gd name="connsiteY27" fmla="*/ 964052 h 2215336"/>
              <a:gd name="connsiteX28" fmla="*/ 16579516 w 16747958"/>
              <a:gd name="connsiteY28" fmla="*/ 819673 h 2215336"/>
              <a:gd name="connsiteX29" fmla="*/ 16627642 w 16747958"/>
              <a:gd name="connsiteY29" fmla="*/ 747484 h 2215336"/>
              <a:gd name="connsiteX30" fmla="*/ 16723895 w 16747958"/>
              <a:gd name="connsiteY30" fmla="*/ 579041 h 2215336"/>
              <a:gd name="connsiteX31" fmla="*/ 16747958 w 16747958"/>
              <a:gd name="connsiteY31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290758 w 16747958"/>
              <a:gd name="connsiteY26" fmla="*/ 1180620 h 2215336"/>
              <a:gd name="connsiteX27" fmla="*/ 16483263 w 16747958"/>
              <a:gd name="connsiteY27" fmla="*/ 964052 h 2215336"/>
              <a:gd name="connsiteX28" fmla="*/ 16579516 w 16747958"/>
              <a:gd name="connsiteY28" fmla="*/ 819673 h 2215336"/>
              <a:gd name="connsiteX29" fmla="*/ 16627642 w 16747958"/>
              <a:gd name="connsiteY29" fmla="*/ 747484 h 2215336"/>
              <a:gd name="connsiteX30" fmla="*/ 16747958 w 16747958"/>
              <a:gd name="connsiteY30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290758 w 16747958"/>
              <a:gd name="connsiteY26" fmla="*/ 1180620 h 2215336"/>
              <a:gd name="connsiteX27" fmla="*/ 16483263 w 16747958"/>
              <a:gd name="connsiteY27" fmla="*/ 964052 h 2215336"/>
              <a:gd name="connsiteX28" fmla="*/ 16627642 w 16747958"/>
              <a:gd name="connsiteY28" fmla="*/ 747484 h 2215336"/>
              <a:gd name="connsiteX29" fmla="*/ 16747958 w 16747958"/>
              <a:gd name="connsiteY29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483263 w 16747958"/>
              <a:gd name="connsiteY26" fmla="*/ 964052 h 2215336"/>
              <a:gd name="connsiteX27" fmla="*/ 16627642 w 16747958"/>
              <a:gd name="connsiteY27" fmla="*/ 747484 h 2215336"/>
              <a:gd name="connsiteX28" fmla="*/ 16747958 w 16747958"/>
              <a:gd name="connsiteY28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881684 w 16747958"/>
              <a:gd name="connsiteY23" fmla="*/ 1613757 h 2215336"/>
              <a:gd name="connsiteX24" fmla="*/ 16170442 w 16747958"/>
              <a:gd name="connsiteY24" fmla="*/ 1349062 h 2215336"/>
              <a:gd name="connsiteX25" fmla="*/ 16483263 w 16747958"/>
              <a:gd name="connsiteY25" fmla="*/ 964052 h 2215336"/>
              <a:gd name="connsiteX26" fmla="*/ 16627642 w 16747958"/>
              <a:gd name="connsiteY26" fmla="*/ 747484 h 2215336"/>
              <a:gd name="connsiteX27" fmla="*/ 16747958 w 16747958"/>
              <a:gd name="connsiteY27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641053 w 16747958"/>
              <a:gd name="connsiteY21" fmla="*/ 1782199 h 2215336"/>
              <a:gd name="connsiteX22" fmla="*/ 15881684 w 16747958"/>
              <a:gd name="connsiteY22" fmla="*/ 1613757 h 2215336"/>
              <a:gd name="connsiteX23" fmla="*/ 16170442 w 16747958"/>
              <a:gd name="connsiteY23" fmla="*/ 1349062 h 2215336"/>
              <a:gd name="connsiteX24" fmla="*/ 16483263 w 16747958"/>
              <a:gd name="connsiteY24" fmla="*/ 964052 h 2215336"/>
              <a:gd name="connsiteX25" fmla="*/ 16627642 w 16747958"/>
              <a:gd name="connsiteY25" fmla="*/ 747484 h 2215336"/>
              <a:gd name="connsiteX26" fmla="*/ 16747958 w 16747958"/>
              <a:gd name="connsiteY26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641053 w 16747958"/>
              <a:gd name="connsiteY21" fmla="*/ 1782199 h 2215336"/>
              <a:gd name="connsiteX22" fmla="*/ 16170442 w 16747958"/>
              <a:gd name="connsiteY22" fmla="*/ 1349062 h 2215336"/>
              <a:gd name="connsiteX23" fmla="*/ 16483263 w 16747958"/>
              <a:gd name="connsiteY23" fmla="*/ 964052 h 2215336"/>
              <a:gd name="connsiteX24" fmla="*/ 16627642 w 16747958"/>
              <a:gd name="connsiteY24" fmla="*/ 747484 h 2215336"/>
              <a:gd name="connsiteX25" fmla="*/ 16747958 w 16747958"/>
              <a:gd name="connsiteY25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991347 w 16747958"/>
              <a:gd name="connsiteY18" fmla="*/ 2143147 h 2215336"/>
              <a:gd name="connsiteX19" fmla="*/ 15207916 w 16747958"/>
              <a:gd name="connsiteY19" fmla="*/ 2046894 h 2215336"/>
              <a:gd name="connsiteX20" fmla="*/ 15641053 w 16747958"/>
              <a:gd name="connsiteY20" fmla="*/ 1782199 h 2215336"/>
              <a:gd name="connsiteX21" fmla="*/ 16170442 w 16747958"/>
              <a:gd name="connsiteY21" fmla="*/ 1349062 h 2215336"/>
              <a:gd name="connsiteX22" fmla="*/ 16483263 w 16747958"/>
              <a:gd name="connsiteY22" fmla="*/ 964052 h 2215336"/>
              <a:gd name="connsiteX23" fmla="*/ 16627642 w 16747958"/>
              <a:gd name="connsiteY23" fmla="*/ 747484 h 2215336"/>
              <a:gd name="connsiteX24" fmla="*/ 16747958 w 16747958"/>
              <a:gd name="connsiteY24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991347 w 16747958"/>
              <a:gd name="connsiteY18" fmla="*/ 2143147 h 2215336"/>
              <a:gd name="connsiteX19" fmla="*/ 15641053 w 16747958"/>
              <a:gd name="connsiteY19" fmla="*/ 1782199 h 2215336"/>
              <a:gd name="connsiteX20" fmla="*/ 16170442 w 16747958"/>
              <a:gd name="connsiteY20" fmla="*/ 1349062 h 2215336"/>
              <a:gd name="connsiteX21" fmla="*/ 16483263 w 16747958"/>
              <a:gd name="connsiteY21" fmla="*/ 964052 h 2215336"/>
              <a:gd name="connsiteX22" fmla="*/ 16627642 w 16747958"/>
              <a:gd name="connsiteY22" fmla="*/ 747484 h 2215336"/>
              <a:gd name="connsiteX23" fmla="*/ 16747958 w 16747958"/>
              <a:gd name="connsiteY23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4461958 w 16747958"/>
              <a:gd name="connsiteY16" fmla="*/ 2215336 h 2215336"/>
              <a:gd name="connsiteX17" fmla="*/ 14991347 w 16747958"/>
              <a:gd name="connsiteY17" fmla="*/ 2143147 h 2215336"/>
              <a:gd name="connsiteX18" fmla="*/ 15641053 w 16747958"/>
              <a:gd name="connsiteY18" fmla="*/ 1782199 h 2215336"/>
              <a:gd name="connsiteX19" fmla="*/ 16170442 w 16747958"/>
              <a:gd name="connsiteY19" fmla="*/ 1349062 h 2215336"/>
              <a:gd name="connsiteX20" fmla="*/ 16483263 w 16747958"/>
              <a:gd name="connsiteY20" fmla="*/ 964052 h 2215336"/>
              <a:gd name="connsiteX21" fmla="*/ 16627642 w 16747958"/>
              <a:gd name="connsiteY21" fmla="*/ 747484 h 2215336"/>
              <a:gd name="connsiteX22" fmla="*/ 16747958 w 16747958"/>
              <a:gd name="connsiteY22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4461958 w 16747958"/>
              <a:gd name="connsiteY15" fmla="*/ 2215336 h 2215336"/>
              <a:gd name="connsiteX16" fmla="*/ 14991347 w 16747958"/>
              <a:gd name="connsiteY16" fmla="*/ 2143147 h 2215336"/>
              <a:gd name="connsiteX17" fmla="*/ 15641053 w 16747958"/>
              <a:gd name="connsiteY17" fmla="*/ 1782199 h 2215336"/>
              <a:gd name="connsiteX18" fmla="*/ 16170442 w 16747958"/>
              <a:gd name="connsiteY18" fmla="*/ 1349062 h 2215336"/>
              <a:gd name="connsiteX19" fmla="*/ 16483263 w 16747958"/>
              <a:gd name="connsiteY19" fmla="*/ 964052 h 2215336"/>
              <a:gd name="connsiteX20" fmla="*/ 16627642 w 16747958"/>
              <a:gd name="connsiteY20" fmla="*/ 747484 h 2215336"/>
              <a:gd name="connsiteX21" fmla="*/ 16747958 w 16747958"/>
              <a:gd name="connsiteY21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4461958 w 16747958"/>
              <a:gd name="connsiteY15" fmla="*/ 2215336 h 2215336"/>
              <a:gd name="connsiteX16" fmla="*/ 14991347 w 16747958"/>
              <a:gd name="connsiteY16" fmla="*/ 2143147 h 2215336"/>
              <a:gd name="connsiteX17" fmla="*/ 15641053 w 16747958"/>
              <a:gd name="connsiteY17" fmla="*/ 1782199 h 2215336"/>
              <a:gd name="connsiteX18" fmla="*/ 16170442 w 16747958"/>
              <a:gd name="connsiteY18" fmla="*/ 1349062 h 2215336"/>
              <a:gd name="connsiteX19" fmla="*/ 16483263 w 16747958"/>
              <a:gd name="connsiteY19" fmla="*/ 964052 h 2215336"/>
              <a:gd name="connsiteX20" fmla="*/ 16747958 w 16747958"/>
              <a:gd name="connsiteY20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9288379 w 16747958"/>
              <a:gd name="connsiteY9" fmla="*/ 867799 h 2215336"/>
              <a:gd name="connsiteX10" fmla="*/ 9938084 w 16747958"/>
              <a:gd name="connsiteY10" fmla="*/ 1156557 h 2215336"/>
              <a:gd name="connsiteX11" fmla="*/ 10539663 w 16747958"/>
              <a:gd name="connsiteY11" fmla="*/ 1397189 h 2215336"/>
              <a:gd name="connsiteX12" fmla="*/ 11165305 w 16747958"/>
              <a:gd name="connsiteY12" fmla="*/ 1613757 h 2215336"/>
              <a:gd name="connsiteX13" fmla="*/ 12729411 w 16747958"/>
              <a:gd name="connsiteY13" fmla="*/ 1998768 h 2215336"/>
              <a:gd name="connsiteX14" fmla="*/ 14461958 w 16747958"/>
              <a:gd name="connsiteY14" fmla="*/ 2215336 h 2215336"/>
              <a:gd name="connsiteX15" fmla="*/ 14991347 w 16747958"/>
              <a:gd name="connsiteY15" fmla="*/ 2143147 h 2215336"/>
              <a:gd name="connsiteX16" fmla="*/ 15641053 w 16747958"/>
              <a:gd name="connsiteY16" fmla="*/ 1782199 h 2215336"/>
              <a:gd name="connsiteX17" fmla="*/ 16170442 w 16747958"/>
              <a:gd name="connsiteY17" fmla="*/ 1349062 h 2215336"/>
              <a:gd name="connsiteX18" fmla="*/ 16483263 w 16747958"/>
              <a:gd name="connsiteY18" fmla="*/ 964052 h 2215336"/>
              <a:gd name="connsiteX19" fmla="*/ 16747958 w 16747958"/>
              <a:gd name="connsiteY19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9938084 w 16747958"/>
              <a:gd name="connsiteY9" fmla="*/ 1156557 h 2215336"/>
              <a:gd name="connsiteX10" fmla="*/ 10539663 w 16747958"/>
              <a:gd name="connsiteY10" fmla="*/ 1397189 h 2215336"/>
              <a:gd name="connsiteX11" fmla="*/ 11165305 w 16747958"/>
              <a:gd name="connsiteY11" fmla="*/ 1613757 h 2215336"/>
              <a:gd name="connsiteX12" fmla="*/ 12729411 w 16747958"/>
              <a:gd name="connsiteY12" fmla="*/ 1998768 h 2215336"/>
              <a:gd name="connsiteX13" fmla="*/ 14461958 w 16747958"/>
              <a:gd name="connsiteY13" fmla="*/ 2215336 h 2215336"/>
              <a:gd name="connsiteX14" fmla="*/ 14991347 w 16747958"/>
              <a:gd name="connsiteY14" fmla="*/ 2143147 h 2215336"/>
              <a:gd name="connsiteX15" fmla="*/ 15641053 w 16747958"/>
              <a:gd name="connsiteY15" fmla="*/ 1782199 h 2215336"/>
              <a:gd name="connsiteX16" fmla="*/ 16170442 w 16747958"/>
              <a:gd name="connsiteY16" fmla="*/ 1349062 h 2215336"/>
              <a:gd name="connsiteX17" fmla="*/ 16483263 w 16747958"/>
              <a:gd name="connsiteY17" fmla="*/ 964052 h 2215336"/>
              <a:gd name="connsiteX18" fmla="*/ 16747958 w 16747958"/>
              <a:gd name="connsiteY18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614611 w 16747958"/>
              <a:gd name="connsiteY7" fmla="*/ 627168 h 2215336"/>
              <a:gd name="connsiteX8" fmla="*/ 9938084 w 16747958"/>
              <a:gd name="connsiteY8" fmla="*/ 1156557 h 2215336"/>
              <a:gd name="connsiteX9" fmla="*/ 10539663 w 16747958"/>
              <a:gd name="connsiteY9" fmla="*/ 1397189 h 2215336"/>
              <a:gd name="connsiteX10" fmla="*/ 11165305 w 16747958"/>
              <a:gd name="connsiteY10" fmla="*/ 1613757 h 2215336"/>
              <a:gd name="connsiteX11" fmla="*/ 12729411 w 16747958"/>
              <a:gd name="connsiteY11" fmla="*/ 1998768 h 2215336"/>
              <a:gd name="connsiteX12" fmla="*/ 14461958 w 16747958"/>
              <a:gd name="connsiteY12" fmla="*/ 2215336 h 2215336"/>
              <a:gd name="connsiteX13" fmla="*/ 14991347 w 16747958"/>
              <a:gd name="connsiteY13" fmla="*/ 2143147 h 2215336"/>
              <a:gd name="connsiteX14" fmla="*/ 15641053 w 16747958"/>
              <a:gd name="connsiteY14" fmla="*/ 1782199 h 2215336"/>
              <a:gd name="connsiteX15" fmla="*/ 16170442 w 16747958"/>
              <a:gd name="connsiteY15" fmla="*/ 1349062 h 2215336"/>
              <a:gd name="connsiteX16" fmla="*/ 16483263 w 16747958"/>
              <a:gd name="connsiteY16" fmla="*/ 964052 h 2215336"/>
              <a:gd name="connsiteX17" fmla="*/ 16747958 w 16747958"/>
              <a:gd name="connsiteY17" fmla="*/ 506852 h 2215336"/>
              <a:gd name="connsiteX0" fmla="*/ 0 w 16747958"/>
              <a:gd name="connsiteY0" fmla="*/ 1517505 h 2215336"/>
              <a:gd name="connsiteX1" fmla="*/ 1179095 w 16747958"/>
              <a:gd name="connsiteY1" fmla="*/ 506852 h 2215336"/>
              <a:gd name="connsiteX2" fmla="*/ 2093495 w 16747958"/>
              <a:gd name="connsiteY2" fmla="*/ 242157 h 2215336"/>
              <a:gd name="connsiteX3" fmla="*/ 3537284 w 16747958"/>
              <a:gd name="connsiteY3" fmla="*/ 25589 h 2215336"/>
              <a:gd name="connsiteX4" fmla="*/ 5895474 w 16747958"/>
              <a:gd name="connsiteY4" fmla="*/ 25589 h 2215336"/>
              <a:gd name="connsiteX5" fmla="*/ 7146758 w 16747958"/>
              <a:gd name="connsiteY5" fmla="*/ 218094 h 2215336"/>
              <a:gd name="connsiteX6" fmla="*/ 8614611 w 16747958"/>
              <a:gd name="connsiteY6" fmla="*/ 627168 h 2215336"/>
              <a:gd name="connsiteX7" fmla="*/ 9938084 w 16747958"/>
              <a:gd name="connsiteY7" fmla="*/ 1156557 h 2215336"/>
              <a:gd name="connsiteX8" fmla="*/ 10539663 w 16747958"/>
              <a:gd name="connsiteY8" fmla="*/ 1397189 h 2215336"/>
              <a:gd name="connsiteX9" fmla="*/ 11165305 w 16747958"/>
              <a:gd name="connsiteY9" fmla="*/ 1613757 h 2215336"/>
              <a:gd name="connsiteX10" fmla="*/ 12729411 w 16747958"/>
              <a:gd name="connsiteY10" fmla="*/ 1998768 h 2215336"/>
              <a:gd name="connsiteX11" fmla="*/ 14461958 w 16747958"/>
              <a:gd name="connsiteY11" fmla="*/ 2215336 h 2215336"/>
              <a:gd name="connsiteX12" fmla="*/ 14991347 w 16747958"/>
              <a:gd name="connsiteY12" fmla="*/ 2143147 h 2215336"/>
              <a:gd name="connsiteX13" fmla="*/ 15641053 w 16747958"/>
              <a:gd name="connsiteY13" fmla="*/ 1782199 h 2215336"/>
              <a:gd name="connsiteX14" fmla="*/ 16170442 w 16747958"/>
              <a:gd name="connsiteY14" fmla="*/ 1349062 h 2215336"/>
              <a:gd name="connsiteX15" fmla="*/ 16483263 w 16747958"/>
              <a:gd name="connsiteY15" fmla="*/ 964052 h 2215336"/>
              <a:gd name="connsiteX16" fmla="*/ 16747958 w 16747958"/>
              <a:gd name="connsiteY16" fmla="*/ 506852 h 2215336"/>
              <a:gd name="connsiteX0" fmla="*/ 0 w 16747958"/>
              <a:gd name="connsiteY0" fmla="*/ 1492038 h 2189869"/>
              <a:gd name="connsiteX1" fmla="*/ 1179095 w 16747958"/>
              <a:gd name="connsiteY1" fmla="*/ 481385 h 2189869"/>
              <a:gd name="connsiteX2" fmla="*/ 2093495 w 16747958"/>
              <a:gd name="connsiteY2" fmla="*/ 216690 h 2189869"/>
              <a:gd name="connsiteX3" fmla="*/ 5895474 w 16747958"/>
              <a:gd name="connsiteY3" fmla="*/ 122 h 2189869"/>
              <a:gd name="connsiteX4" fmla="*/ 7146758 w 16747958"/>
              <a:gd name="connsiteY4" fmla="*/ 192627 h 2189869"/>
              <a:gd name="connsiteX5" fmla="*/ 8614611 w 16747958"/>
              <a:gd name="connsiteY5" fmla="*/ 601701 h 2189869"/>
              <a:gd name="connsiteX6" fmla="*/ 9938084 w 16747958"/>
              <a:gd name="connsiteY6" fmla="*/ 1131090 h 2189869"/>
              <a:gd name="connsiteX7" fmla="*/ 10539663 w 16747958"/>
              <a:gd name="connsiteY7" fmla="*/ 1371722 h 2189869"/>
              <a:gd name="connsiteX8" fmla="*/ 11165305 w 16747958"/>
              <a:gd name="connsiteY8" fmla="*/ 1588290 h 2189869"/>
              <a:gd name="connsiteX9" fmla="*/ 12729411 w 16747958"/>
              <a:gd name="connsiteY9" fmla="*/ 1973301 h 2189869"/>
              <a:gd name="connsiteX10" fmla="*/ 14461958 w 16747958"/>
              <a:gd name="connsiteY10" fmla="*/ 2189869 h 2189869"/>
              <a:gd name="connsiteX11" fmla="*/ 14991347 w 16747958"/>
              <a:gd name="connsiteY11" fmla="*/ 2117680 h 2189869"/>
              <a:gd name="connsiteX12" fmla="*/ 15641053 w 16747958"/>
              <a:gd name="connsiteY12" fmla="*/ 1756732 h 2189869"/>
              <a:gd name="connsiteX13" fmla="*/ 16170442 w 16747958"/>
              <a:gd name="connsiteY13" fmla="*/ 1323595 h 2189869"/>
              <a:gd name="connsiteX14" fmla="*/ 16483263 w 16747958"/>
              <a:gd name="connsiteY14" fmla="*/ 938585 h 2189869"/>
              <a:gd name="connsiteX15" fmla="*/ 16747958 w 16747958"/>
              <a:gd name="connsiteY15" fmla="*/ 481385 h 2189869"/>
              <a:gd name="connsiteX0" fmla="*/ 0 w 16747958"/>
              <a:gd name="connsiteY0" fmla="*/ 1492038 h 2189869"/>
              <a:gd name="connsiteX1" fmla="*/ 1179095 w 16747958"/>
              <a:gd name="connsiteY1" fmla="*/ 481385 h 2189869"/>
              <a:gd name="connsiteX2" fmla="*/ 2093495 w 16747958"/>
              <a:gd name="connsiteY2" fmla="*/ 216690 h 2189869"/>
              <a:gd name="connsiteX3" fmla="*/ 5895474 w 16747958"/>
              <a:gd name="connsiteY3" fmla="*/ 122 h 2189869"/>
              <a:gd name="connsiteX4" fmla="*/ 7146758 w 16747958"/>
              <a:gd name="connsiteY4" fmla="*/ 192627 h 2189869"/>
              <a:gd name="connsiteX5" fmla="*/ 8614611 w 16747958"/>
              <a:gd name="connsiteY5" fmla="*/ 601701 h 2189869"/>
              <a:gd name="connsiteX6" fmla="*/ 9938084 w 16747958"/>
              <a:gd name="connsiteY6" fmla="*/ 1131090 h 2189869"/>
              <a:gd name="connsiteX7" fmla="*/ 11165305 w 16747958"/>
              <a:gd name="connsiteY7" fmla="*/ 1588290 h 2189869"/>
              <a:gd name="connsiteX8" fmla="*/ 12729411 w 16747958"/>
              <a:gd name="connsiteY8" fmla="*/ 1973301 h 2189869"/>
              <a:gd name="connsiteX9" fmla="*/ 14461958 w 16747958"/>
              <a:gd name="connsiteY9" fmla="*/ 2189869 h 2189869"/>
              <a:gd name="connsiteX10" fmla="*/ 14991347 w 16747958"/>
              <a:gd name="connsiteY10" fmla="*/ 2117680 h 2189869"/>
              <a:gd name="connsiteX11" fmla="*/ 15641053 w 16747958"/>
              <a:gd name="connsiteY11" fmla="*/ 1756732 h 2189869"/>
              <a:gd name="connsiteX12" fmla="*/ 16170442 w 16747958"/>
              <a:gd name="connsiteY12" fmla="*/ 1323595 h 2189869"/>
              <a:gd name="connsiteX13" fmla="*/ 16483263 w 16747958"/>
              <a:gd name="connsiteY13" fmla="*/ 938585 h 2189869"/>
              <a:gd name="connsiteX14" fmla="*/ 16747958 w 16747958"/>
              <a:gd name="connsiteY14" fmla="*/ 481385 h 2189869"/>
              <a:gd name="connsiteX0" fmla="*/ 0 w 16747958"/>
              <a:gd name="connsiteY0" fmla="*/ 1492038 h 2189869"/>
              <a:gd name="connsiteX1" fmla="*/ 1179095 w 16747958"/>
              <a:gd name="connsiteY1" fmla="*/ 481385 h 2189869"/>
              <a:gd name="connsiteX2" fmla="*/ 2093495 w 16747958"/>
              <a:gd name="connsiteY2" fmla="*/ 216690 h 2189869"/>
              <a:gd name="connsiteX3" fmla="*/ 5895474 w 16747958"/>
              <a:gd name="connsiteY3" fmla="*/ 122 h 2189869"/>
              <a:gd name="connsiteX4" fmla="*/ 7146758 w 16747958"/>
              <a:gd name="connsiteY4" fmla="*/ 192627 h 2189869"/>
              <a:gd name="connsiteX5" fmla="*/ 8614611 w 16747958"/>
              <a:gd name="connsiteY5" fmla="*/ 601701 h 2189869"/>
              <a:gd name="connsiteX6" fmla="*/ 9938084 w 16747958"/>
              <a:gd name="connsiteY6" fmla="*/ 1131090 h 2189869"/>
              <a:gd name="connsiteX7" fmla="*/ 11165305 w 16747958"/>
              <a:gd name="connsiteY7" fmla="*/ 1588290 h 2189869"/>
              <a:gd name="connsiteX8" fmla="*/ 12729411 w 16747958"/>
              <a:gd name="connsiteY8" fmla="*/ 1973301 h 2189869"/>
              <a:gd name="connsiteX9" fmla="*/ 14461958 w 16747958"/>
              <a:gd name="connsiteY9" fmla="*/ 2189869 h 2189869"/>
              <a:gd name="connsiteX10" fmla="*/ 14991347 w 16747958"/>
              <a:gd name="connsiteY10" fmla="*/ 2117680 h 2189869"/>
              <a:gd name="connsiteX11" fmla="*/ 15641053 w 16747958"/>
              <a:gd name="connsiteY11" fmla="*/ 1756732 h 2189869"/>
              <a:gd name="connsiteX12" fmla="*/ 16483263 w 16747958"/>
              <a:gd name="connsiteY12" fmla="*/ 938585 h 2189869"/>
              <a:gd name="connsiteX13" fmla="*/ 16747958 w 16747958"/>
              <a:gd name="connsiteY13" fmla="*/ 481385 h 2189869"/>
              <a:gd name="connsiteX0" fmla="*/ 0 w 16747958"/>
              <a:gd name="connsiteY0" fmla="*/ 1492038 h 2189869"/>
              <a:gd name="connsiteX1" fmla="*/ 1179095 w 16747958"/>
              <a:gd name="connsiteY1" fmla="*/ 481385 h 2189869"/>
              <a:gd name="connsiteX2" fmla="*/ 2093495 w 16747958"/>
              <a:gd name="connsiteY2" fmla="*/ 216690 h 2189869"/>
              <a:gd name="connsiteX3" fmla="*/ 5895474 w 16747958"/>
              <a:gd name="connsiteY3" fmla="*/ 122 h 2189869"/>
              <a:gd name="connsiteX4" fmla="*/ 7146758 w 16747958"/>
              <a:gd name="connsiteY4" fmla="*/ 192627 h 2189869"/>
              <a:gd name="connsiteX5" fmla="*/ 8614611 w 16747958"/>
              <a:gd name="connsiteY5" fmla="*/ 601701 h 2189869"/>
              <a:gd name="connsiteX6" fmla="*/ 9938084 w 16747958"/>
              <a:gd name="connsiteY6" fmla="*/ 1131090 h 2189869"/>
              <a:gd name="connsiteX7" fmla="*/ 11165305 w 16747958"/>
              <a:gd name="connsiteY7" fmla="*/ 1588290 h 2189869"/>
              <a:gd name="connsiteX8" fmla="*/ 12729411 w 16747958"/>
              <a:gd name="connsiteY8" fmla="*/ 1973301 h 2189869"/>
              <a:gd name="connsiteX9" fmla="*/ 14461958 w 16747958"/>
              <a:gd name="connsiteY9" fmla="*/ 2189869 h 2189869"/>
              <a:gd name="connsiteX10" fmla="*/ 15641053 w 16747958"/>
              <a:gd name="connsiteY10" fmla="*/ 1756732 h 2189869"/>
              <a:gd name="connsiteX11" fmla="*/ 16483263 w 16747958"/>
              <a:gd name="connsiteY11" fmla="*/ 938585 h 2189869"/>
              <a:gd name="connsiteX12" fmla="*/ 16747958 w 16747958"/>
              <a:gd name="connsiteY12" fmla="*/ 481385 h 2189869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504379 h 2239331"/>
              <a:gd name="connsiteX1" fmla="*/ 1179095 w 16747958"/>
              <a:gd name="connsiteY1" fmla="*/ 493726 h 2239331"/>
              <a:gd name="connsiteX2" fmla="*/ 2093495 w 16747958"/>
              <a:gd name="connsiteY2" fmla="*/ 229031 h 2239331"/>
              <a:gd name="connsiteX3" fmla="*/ 5895474 w 16747958"/>
              <a:gd name="connsiteY3" fmla="*/ 12463 h 2239331"/>
              <a:gd name="connsiteX4" fmla="*/ 8614611 w 16747958"/>
              <a:gd name="connsiteY4" fmla="*/ 614042 h 2239331"/>
              <a:gd name="connsiteX5" fmla="*/ 9938084 w 16747958"/>
              <a:gd name="connsiteY5" fmla="*/ 1143431 h 2239331"/>
              <a:gd name="connsiteX6" fmla="*/ 11165305 w 16747958"/>
              <a:gd name="connsiteY6" fmla="*/ 1600631 h 2239331"/>
              <a:gd name="connsiteX7" fmla="*/ 12729411 w 16747958"/>
              <a:gd name="connsiteY7" fmla="*/ 1985642 h 2239331"/>
              <a:gd name="connsiteX8" fmla="*/ 14461958 w 16747958"/>
              <a:gd name="connsiteY8" fmla="*/ 2202210 h 2239331"/>
              <a:gd name="connsiteX9" fmla="*/ 15641053 w 16747958"/>
              <a:gd name="connsiteY9" fmla="*/ 1769073 h 2239331"/>
              <a:gd name="connsiteX10" fmla="*/ 16483263 w 16747958"/>
              <a:gd name="connsiteY10" fmla="*/ 950926 h 2239331"/>
              <a:gd name="connsiteX11" fmla="*/ 16747958 w 16747958"/>
              <a:gd name="connsiteY11" fmla="*/ 493726 h 2239331"/>
              <a:gd name="connsiteX0" fmla="*/ 0 w 16747958"/>
              <a:gd name="connsiteY0" fmla="*/ 1504379 h 1991537"/>
              <a:gd name="connsiteX1" fmla="*/ 1179095 w 16747958"/>
              <a:gd name="connsiteY1" fmla="*/ 493726 h 1991537"/>
              <a:gd name="connsiteX2" fmla="*/ 2093495 w 16747958"/>
              <a:gd name="connsiteY2" fmla="*/ 229031 h 1991537"/>
              <a:gd name="connsiteX3" fmla="*/ 5895474 w 16747958"/>
              <a:gd name="connsiteY3" fmla="*/ 12463 h 1991537"/>
              <a:gd name="connsiteX4" fmla="*/ 8614611 w 16747958"/>
              <a:gd name="connsiteY4" fmla="*/ 614042 h 1991537"/>
              <a:gd name="connsiteX5" fmla="*/ 9938084 w 16747958"/>
              <a:gd name="connsiteY5" fmla="*/ 1143431 h 1991537"/>
              <a:gd name="connsiteX6" fmla="*/ 11165305 w 16747958"/>
              <a:gd name="connsiteY6" fmla="*/ 1600631 h 1991537"/>
              <a:gd name="connsiteX7" fmla="*/ 12729411 w 16747958"/>
              <a:gd name="connsiteY7" fmla="*/ 1985642 h 1991537"/>
              <a:gd name="connsiteX8" fmla="*/ 15641053 w 16747958"/>
              <a:gd name="connsiteY8" fmla="*/ 1769073 h 1991537"/>
              <a:gd name="connsiteX9" fmla="*/ 16483263 w 16747958"/>
              <a:gd name="connsiteY9" fmla="*/ 950926 h 1991537"/>
              <a:gd name="connsiteX10" fmla="*/ 16747958 w 16747958"/>
              <a:gd name="connsiteY10" fmla="*/ 493726 h 1991537"/>
              <a:gd name="connsiteX0" fmla="*/ 0 w 16747958"/>
              <a:gd name="connsiteY0" fmla="*/ 1504379 h 2020274"/>
              <a:gd name="connsiteX1" fmla="*/ 1179095 w 16747958"/>
              <a:gd name="connsiteY1" fmla="*/ 493726 h 2020274"/>
              <a:gd name="connsiteX2" fmla="*/ 2093495 w 16747958"/>
              <a:gd name="connsiteY2" fmla="*/ 229031 h 2020274"/>
              <a:gd name="connsiteX3" fmla="*/ 5895474 w 16747958"/>
              <a:gd name="connsiteY3" fmla="*/ 12463 h 2020274"/>
              <a:gd name="connsiteX4" fmla="*/ 8614611 w 16747958"/>
              <a:gd name="connsiteY4" fmla="*/ 614042 h 2020274"/>
              <a:gd name="connsiteX5" fmla="*/ 9938084 w 16747958"/>
              <a:gd name="connsiteY5" fmla="*/ 1143431 h 2020274"/>
              <a:gd name="connsiteX6" fmla="*/ 12729411 w 16747958"/>
              <a:gd name="connsiteY6" fmla="*/ 1985642 h 2020274"/>
              <a:gd name="connsiteX7" fmla="*/ 15641053 w 16747958"/>
              <a:gd name="connsiteY7" fmla="*/ 1769073 h 2020274"/>
              <a:gd name="connsiteX8" fmla="*/ 16483263 w 16747958"/>
              <a:gd name="connsiteY8" fmla="*/ 950926 h 2020274"/>
              <a:gd name="connsiteX9" fmla="*/ 16747958 w 16747958"/>
              <a:gd name="connsiteY9" fmla="*/ 493726 h 2020274"/>
              <a:gd name="connsiteX0" fmla="*/ 0 w 16747958"/>
              <a:gd name="connsiteY0" fmla="*/ 1504379 h 2031854"/>
              <a:gd name="connsiteX1" fmla="*/ 1179095 w 16747958"/>
              <a:gd name="connsiteY1" fmla="*/ 493726 h 2031854"/>
              <a:gd name="connsiteX2" fmla="*/ 2093495 w 16747958"/>
              <a:gd name="connsiteY2" fmla="*/ 229031 h 2031854"/>
              <a:gd name="connsiteX3" fmla="*/ 5895474 w 16747958"/>
              <a:gd name="connsiteY3" fmla="*/ 12463 h 2031854"/>
              <a:gd name="connsiteX4" fmla="*/ 8614611 w 16747958"/>
              <a:gd name="connsiteY4" fmla="*/ 614042 h 2031854"/>
              <a:gd name="connsiteX5" fmla="*/ 9938084 w 16747958"/>
              <a:gd name="connsiteY5" fmla="*/ 1143431 h 2031854"/>
              <a:gd name="connsiteX6" fmla="*/ 12729411 w 16747958"/>
              <a:gd name="connsiteY6" fmla="*/ 1985642 h 2031854"/>
              <a:gd name="connsiteX7" fmla="*/ 15641053 w 16747958"/>
              <a:gd name="connsiteY7" fmla="*/ 1769073 h 2031854"/>
              <a:gd name="connsiteX8" fmla="*/ 16747958 w 16747958"/>
              <a:gd name="connsiteY8" fmla="*/ 493726 h 2031854"/>
              <a:gd name="connsiteX0" fmla="*/ 0 w 16747958"/>
              <a:gd name="connsiteY0" fmla="*/ 1520541 h 2048016"/>
              <a:gd name="connsiteX1" fmla="*/ 2093495 w 16747958"/>
              <a:gd name="connsiteY1" fmla="*/ 245193 h 2048016"/>
              <a:gd name="connsiteX2" fmla="*/ 5895474 w 16747958"/>
              <a:gd name="connsiteY2" fmla="*/ 28625 h 2048016"/>
              <a:gd name="connsiteX3" fmla="*/ 8614611 w 16747958"/>
              <a:gd name="connsiteY3" fmla="*/ 630204 h 2048016"/>
              <a:gd name="connsiteX4" fmla="*/ 9938084 w 16747958"/>
              <a:gd name="connsiteY4" fmla="*/ 1159593 h 2048016"/>
              <a:gd name="connsiteX5" fmla="*/ 12729411 w 16747958"/>
              <a:gd name="connsiteY5" fmla="*/ 2001804 h 2048016"/>
              <a:gd name="connsiteX6" fmla="*/ 15641053 w 16747958"/>
              <a:gd name="connsiteY6" fmla="*/ 1785235 h 2048016"/>
              <a:gd name="connsiteX7" fmla="*/ 16747958 w 16747958"/>
              <a:gd name="connsiteY7" fmla="*/ 509888 h 2048016"/>
              <a:gd name="connsiteX0" fmla="*/ 0 w 17268220"/>
              <a:gd name="connsiteY0" fmla="*/ 3898403 h 3898403"/>
              <a:gd name="connsiteX1" fmla="*/ 2613757 w 17268220"/>
              <a:gd name="connsiteY1" fmla="*/ 368586 h 3898403"/>
              <a:gd name="connsiteX2" fmla="*/ 6415736 w 17268220"/>
              <a:gd name="connsiteY2" fmla="*/ 152018 h 3898403"/>
              <a:gd name="connsiteX3" fmla="*/ 9134873 w 17268220"/>
              <a:gd name="connsiteY3" fmla="*/ 753597 h 3898403"/>
              <a:gd name="connsiteX4" fmla="*/ 10458346 w 17268220"/>
              <a:gd name="connsiteY4" fmla="*/ 1282986 h 3898403"/>
              <a:gd name="connsiteX5" fmla="*/ 13249673 w 17268220"/>
              <a:gd name="connsiteY5" fmla="*/ 2125197 h 3898403"/>
              <a:gd name="connsiteX6" fmla="*/ 16161315 w 17268220"/>
              <a:gd name="connsiteY6" fmla="*/ 1908628 h 3898403"/>
              <a:gd name="connsiteX7" fmla="*/ 17268220 w 17268220"/>
              <a:gd name="connsiteY7" fmla="*/ 633281 h 3898403"/>
              <a:gd name="connsiteX0" fmla="*/ 0 w 17268220"/>
              <a:gd name="connsiteY0" fmla="*/ 3535937 h 3535937"/>
              <a:gd name="connsiteX1" fmla="*/ 2613757 w 17268220"/>
              <a:gd name="connsiteY1" fmla="*/ 6120 h 3535937"/>
              <a:gd name="connsiteX2" fmla="*/ 5454040 w 17268220"/>
              <a:gd name="connsiteY2" fmla="*/ 2627345 h 3535937"/>
              <a:gd name="connsiteX3" fmla="*/ 9134873 w 17268220"/>
              <a:gd name="connsiteY3" fmla="*/ 391131 h 3535937"/>
              <a:gd name="connsiteX4" fmla="*/ 10458346 w 17268220"/>
              <a:gd name="connsiteY4" fmla="*/ 920520 h 3535937"/>
              <a:gd name="connsiteX5" fmla="*/ 13249673 w 17268220"/>
              <a:gd name="connsiteY5" fmla="*/ 1762731 h 3535937"/>
              <a:gd name="connsiteX6" fmla="*/ 16161315 w 17268220"/>
              <a:gd name="connsiteY6" fmla="*/ 1546162 h 3535937"/>
              <a:gd name="connsiteX7" fmla="*/ 17268220 w 17268220"/>
              <a:gd name="connsiteY7" fmla="*/ 270815 h 3535937"/>
              <a:gd name="connsiteX0" fmla="*/ 0 w 17268220"/>
              <a:gd name="connsiteY0" fmla="*/ 4129212 h 4129212"/>
              <a:gd name="connsiteX1" fmla="*/ 2613757 w 17268220"/>
              <a:gd name="connsiteY1" fmla="*/ 599395 h 4129212"/>
              <a:gd name="connsiteX2" fmla="*/ 5454040 w 17268220"/>
              <a:gd name="connsiteY2" fmla="*/ 3220620 h 4129212"/>
              <a:gd name="connsiteX3" fmla="*/ 9402887 w 17268220"/>
              <a:gd name="connsiteY3" fmla="*/ 38475 h 4129212"/>
              <a:gd name="connsiteX4" fmla="*/ 10458346 w 17268220"/>
              <a:gd name="connsiteY4" fmla="*/ 1513795 h 4129212"/>
              <a:gd name="connsiteX5" fmla="*/ 13249673 w 17268220"/>
              <a:gd name="connsiteY5" fmla="*/ 2356006 h 4129212"/>
              <a:gd name="connsiteX6" fmla="*/ 16161315 w 17268220"/>
              <a:gd name="connsiteY6" fmla="*/ 2139437 h 4129212"/>
              <a:gd name="connsiteX7" fmla="*/ 17268220 w 17268220"/>
              <a:gd name="connsiteY7" fmla="*/ 864090 h 4129212"/>
              <a:gd name="connsiteX0" fmla="*/ 0 w 17268220"/>
              <a:gd name="connsiteY0" fmla="*/ 4097433 h 4097433"/>
              <a:gd name="connsiteX1" fmla="*/ 2613757 w 17268220"/>
              <a:gd name="connsiteY1" fmla="*/ 567616 h 4097433"/>
              <a:gd name="connsiteX2" fmla="*/ 5454040 w 17268220"/>
              <a:gd name="connsiteY2" fmla="*/ 3188841 h 4097433"/>
              <a:gd name="connsiteX3" fmla="*/ 9402887 w 17268220"/>
              <a:gd name="connsiteY3" fmla="*/ 6696 h 4097433"/>
              <a:gd name="connsiteX4" fmla="*/ 11057436 w 17268220"/>
              <a:gd name="connsiteY4" fmla="*/ 2349120 h 4097433"/>
              <a:gd name="connsiteX5" fmla="*/ 13249673 w 17268220"/>
              <a:gd name="connsiteY5" fmla="*/ 2324227 h 4097433"/>
              <a:gd name="connsiteX6" fmla="*/ 16161315 w 17268220"/>
              <a:gd name="connsiteY6" fmla="*/ 2107658 h 4097433"/>
              <a:gd name="connsiteX7" fmla="*/ 17268220 w 17268220"/>
              <a:gd name="connsiteY7" fmla="*/ 832311 h 4097433"/>
              <a:gd name="connsiteX0" fmla="*/ 0 w 17268220"/>
              <a:gd name="connsiteY0" fmla="*/ 4098379 h 4098379"/>
              <a:gd name="connsiteX1" fmla="*/ 2613757 w 17268220"/>
              <a:gd name="connsiteY1" fmla="*/ 568562 h 4098379"/>
              <a:gd name="connsiteX2" fmla="*/ 5454040 w 17268220"/>
              <a:gd name="connsiteY2" fmla="*/ 3189787 h 4098379"/>
              <a:gd name="connsiteX3" fmla="*/ 9402887 w 17268220"/>
              <a:gd name="connsiteY3" fmla="*/ 7642 h 4098379"/>
              <a:gd name="connsiteX4" fmla="*/ 11057436 w 17268220"/>
              <a:gd name="connsiteY4" fmla="*/ 2350066 h 4098379"/>
              <a:gd name="connsiteX5" fmla="*/ 14195604 w 17268220"/>
              <a:gd name="connsiteY5" fmla="*/ 3980552 h 4098379"/>
              <a:gd name="connsiteX6" fmla="*/ 16161315 w 17268220"/>
              <a:gd name="connsiteY6" fmla="*/ 2108604 h 4098379"/>
              <a:gd name="connsiteX7" fmla="*/ 17268220 w 17268220"/>
              <a:gd name="connsiteY7" fmla="*/ 833257 h 4098379"/>
              <a:gd name="connsiteX0" fmla="*/ 0 w 18009199"/>
              <a:gd name="connsiteY0" fmla="*/ 4211053 h 4211053"/>
              <a:gd name="connsiteX1" fmla="*/ 2613757 w 18009199"/>
              <a:gd name="connsiteY1" fmla="*/ 681236 h 4211053"/>
              <a:gd name="connsiteX2" fmla="*/ 5454040 w 18009199"/>
              <a:gd name="connsiteY2" fmla="*/ 3302461 h 4211053"/>
              <a:gd name="connsiteX3" fmla="*/ 9402887 w 18009199"/>
              <a:gd name="connsiteY3" fmla="*/ 120316 h 4211053"/>
              <a:gd name="connsiteX4" fmla="*/ 11057436 w 18009199"/>
              <a:gd name="connsiteY4" fmla="*/ 2462740 h 4211053"/>
              <a:gd name="connsiteX5" fmla="*/ 14195604 w 18009199"/>
              <a:gd name="connsiteY5" fmla="*/ 4093226 h 4211053"/>
              <a:gd name="connsiteX6" fmla="*/ 16161315 w 18009199"/>
              <a:gd name="connsiteY6" fmla="*/ 2221278 h 4211053"/>
              <a:gd name="connsiteX7" fmla="*/ 18009199 w 18009199"/>
              <a:gd name="connsiteY7" fmla="*/ 0 h 4211053"/>
              <a:gd name="connsiteX0" fmla="*/ 0 w 18009199"/>
              <a:gd name="connsiteY0" fmla="*/ 4211053 h 4211053"/>
              <a:gd name="connsiteX1" fmla="*/ 2613757 w 18009199"/>
              <a:gd name="connsiteY1" fmla="*/ 681236 h 4211053"/>
              <a:gd name="connsiteX2" fmla="*/ 5454040 w 18009199"/>
              <a:gd name="connsiteY2" fmla="*/ 3302461 h 4211053"/>
              <a:gd name="connsiteX3" fmla="*/ 9402887 w 18009199"/>
              <a:gd name="connsiteY3" fmla="*/ 120316 h 4211053"/>
              <a:gd name="connsiteX4" fmla="*/ 11057436 w 18009199"/>
              <a:gd name="connsiteY4" fmla="*/ 2462740 h 4211053"/>
              <a:gd name="connsiteX5" fmla="*/ 14195604 w 18009199"/>
              <a:gd name="connsiteY5" fmla="*/ 4093226 h 4211053"/>
              <a:gd name="connsiteX6" fmla="*/ 15782943 w 18009199"/>
              <a:gd name="connsiteY6" fmla="*/ 1858671 h 4211053"/>
              <a:gd name="connsiteX7" fmla="*/ 18009199 w 18009199"/>
              <a:gd name="connsiteY7" fmla="*/ 0 h 4211053"/>
              <a:gd name="connsiteX0" fmla="*/ 0 w 18009199"/>
              <a:gd name="connsiteY0" fmla="*/ 4211053 h 4211124"/>
              <a:gd name="connsiteX1" fmla="*/ 2613757 w 18009199"/>
              <a:gd name="connsiteY1" fmla="*/ 681236 h 4211124"/>
              <a:gd name="connsiteX2" fmla="*/ 5454040 w 18009199"/>
              <a:gd name="connsiteY2" fmla="*/ 3302461 h 4211124"/>
              <a:gd name="connsiteX3" fmla="*/ 9402887 w 18009199"/>
              <a:gd name="connsiteY3" fmla="*/ 120316 h 4211124"/>
              <a:gd name="connsiteX4" fmla="*/ 11057436 w 18009199"/>
              <a:gd name="connsiteY4" fmla="*/ 2462740 h 4211124"/>
              <a:gd name="connsiteX5" fmla="*/ 14195604 w 18009199"/>
              <a:gd name="connsiteY5" fmla="*/ 4093226 h 4211124"/>
              <a:gd name="connsiteX6" fmla="*/ 15782943 w 18009199"/>
              <a:gd name="connsiteY6" fmla="*/ 1858671 h 4211124"/>
              <a:gd name="connsiteX7" fmla="*/ 18009199 w 18009199"/>
              <a:gd name="connsiteY7" fmla="*/ 0 h 4211124"/>
              <a:gd name="connsiteX0" fmla="*/ 0 w 18009414"/>
              <a:gd name="connsiteY0" fmla="*/ 4211056 h 4211127"/>
              <a:gd name="connsiteX1" fmla="*/ 2613757 w 18009414"/>
              <a:gd name="connsiteY1" fmla="*/ 681239 h 4211127"/>
              <a:gd name="connsiteX2" fmla="*/ 5454040 w 18009414"/>
              <a:gd name="connsiteY2" fmla="*/ 3302464 h 4211127"/>
              <a:gd name="connsiteX3" fmla="*/ 9402887 w 18009414"/>
              <a:gd name="connsiteY3" fmla="*/ 120319 h 4211127"/>
              <a:gd name="connsiteX4" fmla="*/ 11057436 w 18009414"/>
              <a:gd name="connsiteY4" fmla="*/ 2462743 h 4211127"/>
              <a:gd name="connsiteX5" fmla="*/ 14195604 w 18009414"/>
              <a:gd name="connsiteY5" fmla="*/ 4093229 h 4211127"/>
              <a:gd name="connsiteX6" fmla="*/ 15782943 w 18009414"/>
              <a:gd name="connsiteY6" fmla="*/ 1858674 h 4211127"/>
              <a:gd name="connsiteX7" fmla="*/ 18009199 w 18009414"/>
              <a:gd name="connsiteY7" fmla="*/ 3 h 4211127"/>
              <a:gd name="connsiteX0" fmla="*/ 0 w 18009451"/>
              <a:gd name="connsiteY0" fmla="*/ 4211056 h 4211127"/>
              <a:gd name="connsiteX1" fmla="*/ 2613757 w 18009451"/>
              <a:gd name="connsiteY1" fmla="*/ 681239 h 4211127"/>
              <a:gd name="connsiteX2" fmla="*/ 5454040 w 18009451"/>
              <a:gd name="connsiteY2" fmla="*/ 3302464 h 4211127"/>
              <a:gd name="connsiteX3" fmla="*/ 9402887 w 18009451"/>
              <a:gd name="connsiteY3" fmla="*/ 120319 h 4211127"/>
              <a:gd name="connsiteX4" fmla="*/ 11057436 w 18009451"/>
              <a:gd name="connsiteY4" fmla="*/ 2462743 h 4211127"/>
              <a:gd name="connsiteX5" fmla="*/ 14195604 w 18009451"/>
              <a:gd name="connsiteY5" fmla="*/ 4093229 h 4211127"/>
              <a:gd name="connsiteX6" fmla="*/ 16019426 w 18009451"/>
              <a:gd name="connsiteY6" fmla="*/ 2016329 h 4211127"/>
              <a:gd name="connsiteX7" fmla="*/ 18009199 w 18009451"/>
              <a:gd name="connsiteY7" fmla="*/ 3 h 4211127"/>
              <a:gd name="connsiteX0" fmla="*/ 0 w 18009451"/>
              <a:gd name="connsiteY0" fmla="*/ 4211056 h 4211127"/>
              <a:gd name="connsiteX1" fmla="*/ 2613757 w 18009451"/>
              <a:gd name="connsiteY1" fmla="*/ 681239 h 4211127"/>
              <a:gd name="connsiteX2" fmla="*/ 5454040 w 18009451"/>
              <a:gd name="connsiteY2" fmla="*/ 3302464 h 4211127"/>
              <a:gd name="connsiteX3" fmla="*/ 9402887 w 18009451"/>
              <a:gd name="connsiteY3" fmla="*/ 120319 h 4211127"/>
              <a:gd name="connsiteX4" fmla="*/ 11293919 w 18009451"/>
              <a:gd name="connsiteY4" fmla="*/ 2919943 h 4211127"/>
              <a:gd name="connsiteX5" fmla="*/ 14195604 w 18009451"/>
              <a:gd name="connsiteY5" fmla="*/ 4093229 h 4211127"/>
              <a:gd name="connsiteX6" fmla="*/ 16019426 w 18009451"/>
              <a:gd name="connsiteY6" fmla="*/ 2016329 h 4211127"/>
              <a:gd name="connsiteX7" fmla="*/ 18009199 w 18009451"/>
              <a:gd name="connsiteY7" fmla="*/ 3 h 4211127"/>
              <a:gd name="connsiteX0" fmla="*/ 0 w 18009456"/>
              <a:gd name="connsiteY0" fmla="*/ 4211056 h 4424833"/>
              <a:gd name="connsiteX1" fmla="*/ 2613757 w 18009456"/>
              <a:gd name="connsiteY1" fmla="*/ 681239 h 4424833"/>
              <a:gd name="connsiteX2" fmla="*/ 5454040 w 18009456"/>
              <a:gd name="connsiteY2" fmla="*/ 3302464 h 4424833"/>
              <a:gd name="connsiteX3" fmla="*/ 9402887 w 18009456"/>
              <a:gd name="connsiteY3" fmla="*/ 120319 h 4424833"/>
              <a:gd name="connsiteX4" fmla="*/ 11293919 w 18009456"/>
              <a:gd name="connsiteY4" fmla="*/ 2919943 h 4424833"/>
              <a:gd name="connsiteX5" fmla="*/ 14037948 w 18009456"/>
              <a:gd name="connsiteY5" fmla="*/ 4408539 h 4424833"/>
              <a:gd name="connsiteX6" fmla="*/ 16019426 w 18009456"/>
              <a:gd name="connsiteY6" fmla="*/ 2016329 h 4424833"/>
              <a:gd name="connsiteX7" fmla="*/ 18009199 w 18009456"/>
              <a:gd name="connsiteY7" fmla="*/ 3 h 4424833"/>
              <a:gd name="connsiteX0" fmla="*/ 0 w 18356297"/>
              <a:gd name="connsiteY0" fmla="*/ 4242587 h 4424833"/>
              <a:gd name="connsiteX1" fmla="*/ 2960598 w 18356297"/>
              <a:gd name="connsiteY1" fmla="*/ 681239 h 4424833"/>
              <a:gd name="connsiteX2" fmla="*/ 5800881 w 18356297"/>
              <a:gd name="connsiteY2" fmla="*/ 3302464 h 4424833"/>
              <a:gd name="connsiteX3" fmla="*/ 9749728 w 18356297"/>
              <a:gd name="connsiteY3" fmla="*/ 120319 h 4424833"/>
              <a:gd name="connsiteX4" fmla="*/ 11640760 w 18356297"/>
              <a:gd name="connsiteY4" fmla="*/ 2919943 h 4424833"/>
              <a:gd name="connsiteX5" fmla="*/ 14384789 w 18356297"/>
              <a:gd name="connsiteY5" fmla="*/ 4408539 h 4424833"/>
              <a:gd name="connsiteX6" fmla="*/ 16366267 w 18356297"/>
              <a:gd name="connsiteY6" fmla="*/ 2016329 h 4424833"/>
              <a:gd name="connsiteX7" fmla="*/ 18356040 w 18356297"/>
              <a:gd name="connsiteY7" fmla="*/ 3 h 4424833"/>
              <a:gd name="connsiteX0" fmla="*/ 0 w 18356297"/>
              <a:gd name="connsiteY0" fmla="*/ 4242587 h 4435715"/>
              <a:gd name="connsiteX1" fmla="*/ 2960598 w 18356297"/>
              <a:gd name="connsiteY1" fmla="*/ 681239 h 4435715"/>
              <a:gd name="connsiteX2" fmla="*/ 5800881 w 18356297"/>
              <a:gd name="connsiteY2" fmla="*/ 3302464 h 4435715"/>
              <a:gd name="connsiteX3" fmla="*/ 9749728 w 18356297"/>
              <a:gd name="connsiteY3" fmla="*/ 120319 h 4435715"/>
              <a:gd name="connsiteX4" fmla="*/ 11230857 w 18356297"/>
              <a:gd name="connsiteY4" fmla="*/ 3109130 h 4435715"/>
              <a:gd name="connsiteX5" fmla="*/ 14384789 w 18356297"/>
              <a:gd name="connsiteY5" fmla="*/ 4408539 h 4435715"/>
              <a:gd name="connsiteX6" fmla="*/ 16366267 w 18356297"/>
              <a:gd name="connsiteY6" fmla="*/ 2016329 h 4435715"/>
              <a:gd name="connsiteX7" fmla="*/ 18356040 w 18356297"/>
              <a:gd name="connsiteY7" fmla="*/ 3 h 4435715"/>
              <a:gd name="connsiteX0" fmla="*/ 0 w 18356292"/>
              <a:gd name="connsiteY0" fmla="*/ 4242587 h 4242658"/>
              <a:gd name="connsiteX1" fmla="*/ 2960598 w 18356292"/>
              <a:gd name="connsiteY1" fmla="*/ 681239 h 4242658"/>
              <a:gd name="connsiteX2" fmla="*/ 5800881 w 18356292"/>
              <a:gd name="connsiteY2" fmla="*/ 3302464 h 4242658"/>
              <a:gd name="connsiteX3" fmla="*/ 9749728 w 18356292"/>
              <a:gd name="connsiteY3" fmla="*/ 120319 h 4242658"/>
              <a:gd name="connsiteX4" fmla="*/ 11230857 w 18356292"/>
              <a:gd name="connsiteY4" fmla="*/ 3109130 h 4242658"/>
              <a:gd name="connsiteX5" fmla="*/ 14526679 w 18356292"/>
              <a:gd name="connsiteY5" fmla="*/ 4030167 h 4242658"/>
              <a:gd name="connsiteX6" fmla="*/ 16366267 w 18356292"/>
              <a:gd name="connsiteY6" fmla="*/ 2016329 h 4242658"/>
              <a:gd name="connsiteX7" fmla="*/ 18356040 w 18356292"/>
              <a:gd name="connsiteY7" fmla="*/ 3 h 4242658"/>
              <a:gd name="connsiteX0" fmla="*/ 0 w 18356231"/>
              <a:gd name="connsiteY0" fmla="*/ 4242590 h 4242661"/>
              <a:gd name="connsiteX1" fmla="*/ 2960598 w 18356231"/>
              <a:gd name="connsiteY1" fmla="*/ 681242 h 4242661"/>
              <a:gd name="connsiteX2" fmla="*/ 5800881 w 18356231"/>
              <a:gd name="connsiteY2" fmla="*/ 3302467 h 4242661"/>
              <a:gd name="connsiteX3" fmla="*/ 9749728 w 18356231"/>
              <a:gd name="connsiteY3" fmla="*/ 120322 h 4242661"/>
              <a:gd name="connsiteX4" fmla="*/ 11230857 w 18356231"/>
              <a:gd name="connsiteY4" fmla="*/ 3109133 h 4242661"/>
              <a:gd name="connsiteX5" fmla="*/ 14526679 w 18356231"/>
              <a:gd name="connsiteY5" fmla="*/ 4030170 h 4242661"/>
              <a:gd name="connsiteX6" fmla="*/ 15924833 w 18356231"/>
              <a:gd name="connsiteY6" fmla="*/ 1259588 h 4242661"/>
              <a:gd name="connsiteX7" fmla="*/ 18356040 w 18356231"/>
              <a:gd name="connsiteY7" fmla="*/ 6 h 4242661"/>
              <a:gd name="connsiteX0" fmla="*/ 0 w 18356231"/>
              <a:gd name="connsiteY0" fmla="*/ 4242590 h 4254111"/>
              <a:gd name="connsiteX1" fmla="*/ 2960598 w 18356231"/>
              <a:gd name="connsiteY1" fmla="*/ 681242 h 4254111"/>
              <a:gd name="connsiteX2" fmla="*/ 5800881 w 18356231"/>
              <a:gd name="connsiteY2" fmla="*/ 3302467 h 4254111"/>
              <a:gd name="connsiteX3" fmla="*/ 9749728 w 18356231"/>
              <a:gd name="connsiteY3" fmla="*/ 120322 h 4254111"/>
              <a:gd name="connsiteX4" fmla="*/ 11230857 w 18356231"/>
              <a:gd name="connsiteY4" fmla="*/ 3109133 h 4254111"/>
              <a:gd name="connsiteX5" fmla="*/ 14526679 w 18356231"/>
              <a:gd name="connsiteY5" fmla="*/ 4030170 h 4254111"/>
              <a:gd name="connsiteX6" fmla="*/ 15924833 w 18356231"/>
              <a:gd name="connsiteY6" fmla="*/ 1259588 h 4254111"/>
              <a:gd name="connsiteX7" fmla="*/ 18356040 w 18356231"/>
              <a:gd name="connsiteY7" fmla="*/ 6 h 4254111"/>
              <a:gd name="connsiteX0" fmla="*/ 0 w 18356231"/>
              <a:gd name="connsiteY0" fmla="*/ 4242590 h 4242589"/>
              <a:gd name="connsiteX1" fmla="*/ 2960598 w 18356231"/>
              <a:gd name="connsiteY1" fmla="*/ 681242 h 4242589"/>
              <a:gd name="connsiteX2" fmla="*/ 5800881 w 18356231"/>
              <a:gd name="connsiteY2" fmla="*/ 3302467 h 4242589"/>
              <a:gd name="connsiteX3" fmla="*/ 9749728 w 18356231"/>
              <a:gd name="connsiteY3" fmla="*/ 120322 h 4242589"/>
              <a:gd name="connsiteX4" fmla="*/ 11230857 w 18356231"/>
              <a:gd name="connsiteY4" fmla="*/ 3109133 h 4242589"/>
              <a:gd name="connsiteX5" fmla="*/ 14526679 w 18356231"/>
              <a:gd name="connsiteY5" fmla="*/ 4030170 h 4242589"/>
              <a:gd name="connsiteX6" fmla="*/ 15924833 w 18356231"/>
              <a:gd name="connsiteY6" fmla="*/ 1259588 h 4242589"/>
              <a:gd name="connsiteX7" fmla="*/ 18356040 w 18356231"/>
              <a:gd name="connsiteY7" fmla="*/ 6 h 4242589"/>
              <a:gd name="connsiteX0" fmla="*/ 0 w 18356041"/>
              <a:gd name="connsiteY0" fmla="*/ 4242584 h 4242585"/>
              <a:gd name="connsiteX1" fmla="*/ 2960598 w 18356041"/>
              <a:gd name="connsiteY1" fmla="*/ 681236 h 4242585"/>
              <a:gd name="connsiteX2" fmla="*/ 5800881 w 18356041"/>
              <a:gd name="connsiteY2" fmla="*/ 3302461 h 4242585"/>
              <a:gd name="connsiteX3" fmla="*/ 9749728 w 18356041"/>
              <a:gd name="connsiteY3" fmla="*/ 120316 h 4242585"/>
              <a:gd name="connsiteX4" fmla="*/ 11230857 w 18356041"/>
              <a:gd name="connsiteY4" fmla="*/ 3109127 h 4242585"/>
              <a:gd name="connsiteX5" fmla="*/ 14526679 w 18356041"/>
              <a:gd name="connsiteY5" fmla="*/ 4030164 h 4242585"/>
              <a:gd name="connsiteX6" fmla="*/ 15924833 w 18356041"/>
              <a:gd name="connsiteY6" fmla="*/ 1259582 h 4242585"/>
              <a:gd name="connsiteX7" fmla="*/ 18356040 w 18356041"/>
              <a:gd name="connsiteY7" fmla="*/ 0 h 4242585"/>
              <a:gd name="connsiteX0" fmla="*/ 0 w 18356041"/>
              <a:gd name="connsiteY0" fmla="*/ 4242584 h 4242585"/>
              <a:gd name="connsiteX1" fmla="*/ 2960598 w 18356041"/>
              <a:gd name="connsiteY1" fmla="*/ 681236 h 4242585"/>
              <a:gd name="connsiteX2" fmla="*/ 5800881 w 18356041"/>
              <a:gd name="connsiteY2" fmla="*/ 3302461 h 4242585"/>
              <a:gd name="connsiteX3" fmla="*/ 9749728 w 18356041"/>
              <a:gd name="connsiteY3" fmla="*/ 120316 h 4242585"/>
              <a:gd name="connsiteX4" fmla="*/ 11230857 w 18356041"/>
              <a:gd name="connsiteY4" fmla="*/ 3109127 h 4242585"/>
              <a:gd name="connsiteX5" fmla="*/ 14526679 w 18356041"/>
              <a:gd name="connsiteY5" fmla="*/ 4030164 h 4242585"/>
              <a:gd name="connsiteX6" fmla="*/ 15924833 w 18356041"/>
              <a:gd name="connsiteY6" fmla="*/ 1259582 h 4242585"/>
              <a:gd name="connsiteX7" fmla="*/ 18356040 w 18356041"/>
              <a:gd name="connsiteY7" fmla="*/ 0 h 4242585"/>
              <a:gd name="connsiteX0" fmla="*/ 0 w 18356041"/>
              <a:gd name="connsiteY0" fmla="*/ 4242584 h 4242585"/>
              <a:gd name="connsiteX1" fmla="*/ 2960598 w 18356041"/>
              <a:gd name="connsiteY1" fmla="*/ 681236 h 4242585"/>
              <a:gd name="connsiteX2" fmla="*/ 5800881 w 18356041"/>
              <a:gd name="connsiteY2" fmla="*/ 3302461 h 4242585"/>
              <a:gd name="connsiteX3" fmla="*/ 9749728 w 18356041"/>
              <a:gd name="connsiteY3" fmla="*/ 120316 h 4242585"/>
              <a:gd name="connsiteX4" fmla="*/ 11230857 w 18356041"/>
              <a:gd name="connsiteY4" fmla="*/ 3109127 h 4242585"/>
              <a:gd name="connsiteX5" fmla="*/ 14526679 w 18356041"/>
              <a:gd name="connsiteY5" fmla="*/ 4030164 h 4242585"/>
              <a:gd name="connsiteX6" fmla="*/ 15924833 w 18356041"/>
              <a:gd name="connsiteY6" fmla="*/ 1259582 h 4242585"/>
              <a:gd name="connsiteX7" fmla="*/ 18356040 w 18356041"/>
              <a:gd name="connsiteY7" fmla="*/ 0 h 4242585"/>
              <a:gd name="connsiteX0" fmla="*/ 0 w 18356041"/>
              <a:gd name="connsiteY0" fmla="*/ 4242584 h 4242585"/>
              <a:gd name="connsiteX1" fmla="*/ 2960598 w 18356041"/>
              <a:gd name="connsiteY1" fmla="*/ 681236 h 4242585"/>
              <a:gd name="connsiteX2" fmla="*/ 5800881 w 18356041"/>
              <a:gd name="connsiteY2" fmla="*/ 3302461 h 4242585"/>
              <a:gd name="connsiteX3" fmla="*/ 9749728 w 18356041"/>
              <a:gd name="connsiteY3" fmla="*/ 120316 h 4242585"/>
              <a:gd name="connsiteX4" fmla="*/ 11230857 w 18356041"/>
              <a:gd name="connsiteY4" fmla="*/ 3109127 h 4242585"/>
              <a:gd name="connsiteX5" fmla="*/ 14526679 w 18356041"/>
              <a:gd name="connsiteY5" fmla="*/ 4030164 h 4242585"/>
              <a:gd name="connsiteX6" fmla="*/ 15924833 w 18356041"/>
              <a:gd name="connsiteY6" fmla="*/ 1259582 h 4242585"/>
              <a:gd name="connsiteX7" fmla="*/ 18356040 w 18356041"/>
              <a:gd name="connsiteY7" fmla="*/ 0 h 4242585"/>
              <a:gd name="connsiteX0" fmla="*/ 0 w 18356041"/>
              <a:gd name="connsiteY0" fmla="*/ 4242584 h 4242585"/>
              <a:gd name="connsiteX1" fmla="*/ 2960598 w 18356041"/>
              <a:gd name="connsiteY1" fmla="*/ 681236 h 4242585"/>
              <a:gd name="connsiteX2" fmla="*/ 5800881 w 18356041"/>
              <a:gd name="connsiteY2" fmla="*/ 3302461 h 4242585"/>
              <a:gd name="connsiteX3" fmla="*/ 9749728 w 18356041"/>
              <a:gd name="connsiteY3" fmla="*/ 120316 h 4242585"/>
              <a:gd name="connsiteX4" fmla="*/ 11230857 w 18356041"/>
              <a:gd name="connsiteY4" fmla="*/ 3109127 h 4242585"/>
              <a:gd name="connsiteX5" fmla="*/ 14526679 w 18356041"/>
              <a:gd name="connsiteY5" fmla="*/ 4030164 h 4242585"/>
              <a:gd name="connsiteX6" fmla="*/ 15924833 w 18356041"/>
              <a:gd name="connsiteY6" fmla="*/ 1259582 h 4242585"/>
              <a:gd name="connsiteX7" fmla="*/ 18356040 w 18356041"/>
              <a:gd name="connsiteY7" fmla="*/ 0 h 4242585"/>
              <a:gd name="connsiteX0" fmla="*/ 0 w 18356041"/>
              <a:gd name="connsiteY0" fmla="*/ 4242584 h 4242585"/>
              <a:gd name="connsiteX1" fmla="*/ 2960598 w 18356041"/>
              <a:gd name="connsiteY1" fmla="*/ 681236 h 4242585"/>
              <a:gd name="connsiteX2" fmla="*/ 5800881 w 18356041"/>
              <a:gd name="connsiteY2" fmla="*/ 3302461 h 4242585"/>
              <a:gd name="connsiteX3" fmla="*/ 9749728 w 18356041"/>
              <a:gd name="connsiteY3" fmla="*/ 120316 h 4242585"/>
              <a:gd name="connsiteX4" fmla="*/ 14526679 w 18356041"/>
              <a:gd name="connsiteY4" fmla="*/ 4030164 h 4242585"/>
              <a:gd name="connsiteX5" fmla="*/ 15924833 w 18356041"/>
              <a:gd name="connsiteY5" fmla="*/ 1259582 h 4242585"/>
              <a:gd name="connsiteX6" fmla="*/ 18356040 w 18356041"/>
              <a:gd name="connsiteY6" fmla="*/ 0 h 4242585"/>
              <a:gd name="connsiteX0" fmla="*/ 0 w 18356041"/>
              <a:gd name="connsiteY0" fmla="*/ 4242584 h 4242585"/>
              <a:gd name="connsiteX1" fmla="*/ 2960598 w 18356041"/>
              <a:gd name="connsiteY1" fmla="*/ 681236 h 4242585"/>
              <a:gd name="connsiteX2" fmla="*/ 5800881 w 18356041"/>
              <a:gd name="connsiteY2" fmla="*/ 3302461 h 4242585"/>
              <a:gd name="connsiteX3" fmla="*/ 9749728 w 18356041"/>
              <a:gd name="connsiteY3" fmla="*/ 120316 h 4242585"/>
              <a:gd name="connsiteX4" fmla="*/ 14526679 w 18356041"/>
              <a:gd name="connsiteY4" fmla="*/ 4030164 h 4242585"/>
              <a:gd name="connsiteX5" fmla="*/ 15924833 w 18356041"/>
              <a:gd name="connsiteY5" fmla="*/ 1259582 h 4242585"/>
              <a:gd name="connsiteX6" fmla="*/ 18356040 w 18356041"/>
              <a:gd name="connsiteY6" fmla="*/ 0 h 4242585"/>
              <a:gd name="connsiteX0" fmla="*/ 0 w 18356041"/>
              <a:gd name="connsiteY0" fmla="*/ 4242584 h 4242585"/>
              <a:gd name="connsiteX1" fmla="*/ 2960598 w 18356041"/>
              <a:gd name="connsiteY1" fmla="*/ 681236 h 4242585"/>
              <a:gd name="connsiteX2" fmla="*/ 5800881 w 18356041"/>
              <a:gd name="connsiteY2" fmla="*/ 3302461 h 4242585"/>
              <a:gd name="connsiteX3" fmla="*/ 9749728 w 18356041"/>
              <a:gd name="connsiteY3" fmla="*/ 120316 h 4242585"/>
              <a:gd name="connsiteX4" fmla="*/ 13530852 w 18356041"/>
              <a:gd name="connsiteY4" fmla="*/ 4030164 h 4242585"/>
              <a:gd name="connsiteX5" fmla="*/ 15924833 w 18356041"/>
              <a:gd name="connsiteY5" fmla="*/ 1259582 h 4242585"/>
              <a:gd name="connsiteX6" fmla="*/ 18356040 w 18356041"/>
              <a:gd name="connsiteY6" fmla="*/ 0 h 4242585"/>
              <a:gd name="connsiteX0" fmla="*/ 0 w 18356041"/>
              <a:gd name="connsiteY0" fmla="*/ 4242584 h 4242585"/>
              <a:gd name="connsiteX1" fmla="*/ 2960598 w 18356041"/>
              <a:gd name="connsiteY1" fmla="*/ 681236 h 4242585"/>
              <a:gd name="connsiteX2" fmla="*/ 5800881 w 18356041"/>
              <a:gd name="connsiteY2" fmla="*/ 3302461 h 4242585"/>
              <a:gd name="connsiteX3" fmla="*/ 9749728 w 18356041"/>
              <a:gd name="connsiteY3" fmla="*/ 120316 h 4242585"/>
              <a:gd name="connsiteX4" fmla="*/ 13530852 w 18356041"/>
              <a:gd name="connsiteY4" fmla="*/ 4030164 h 4242585"/>
              <a:gd name="connsiteX5" fmla="*/ 18356040 w 18356041"/>
              <a:gd name="connsiteY5" fmla="*/ 0 h 4242585"/>
              <a:gd name="connsiteX0" fmla="*/ 0 w 18356041"/>
              <a:gd name="connsiteY0" fmla="*/ 4245118 h 4245119"/>
              <a:gd name="connsiteX1" fmla="*/ 2960598 w 18356041"/>
              <a:gd name="connsiteY1" fmla="*/ 683770 h 4245119"/>
              <a:gd name="connsiteX2" fmla="*/ 5800881 w 18356041"/>
              <a:gd name="connsiteY2" fmla="*/ 3304995 h 4245119"/>
              <a:gd name="connsiteX3" fmla="*/ 9749728 w 18356041"/>
              <a:gd name="connsiteY3" fmla="*/ 122850 h 4245119"/>
              <a:gd name="connsiteX4" fmla="*/ 13530852 w 18356041"/>
              <a:gd name="connsiteY4" fmla="*/ 4032698 h 4245119"/>
              <a:gd name="connsiteX5" fmla="*/ 18356040 w 18356041"/>
              <a:gd name="connsiteY5" fmla="*/ 2534 h 4245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356041" h="4245119">
                <a:moveTo>
                  <a:pt x="0" y="4245118"/>
                </a:moveTo>
                <a:cubicBezTo>
                  <a:pt x="187501" y="3958401"/>
                  <a:pt x="1470975" y="592469"/>
                  <a:pt x="2960598" y="683770"/>
                </a:cubicBezTo>
                <a:cubicBezTo>
                  <a:pt x="4450221" y="775071"/>
                  <a:pt x="3822904" y="3415015"/>
                  <a:pt x="5800881" y="3304995"/>
                </a:cubicBezTo>
                <a:cubicBezTo>
                  <a:pt x="7778858" y="3194975"/>
                  <a:pt x="8461400" y="1566"/>
                  <a:pt x="9749728" y="122850"/>
                </a:cubicBezTo>
                <a:cubicBezTo>
                  <a:pt x="11038056" y="244134"/>
                  <a:pt x="12096467" y="4052751"/>
                  <a:pt x="13530852" y="4032698"/>
                </a:cubicBezTo>
                <a:cubicBezTo>
                  <a:pt x="14965237" y="4012645"/>
                  <a:pt x="15110181" y="-116732"/>
                  <a:pt x="18356040" y="2534"/>
                </a:cubicBezTo>
              </a:path>
            </a:pathLst>
          </a:custGeom>
          <a:noFill/>
          <a:ln w="381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19" name="Oval 107">
            <a:extLst>
              <a:ext uri="{FF2B5EF4-FFF2-40B4-BE49-F238E27FC236}">
                <a16:creationId xmlns:a16="http://schemas.microsoft.com/office/drawing/2014/main" id="{1EF2B075-8C87-58EF-1592-E08EEE8F8105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1209834" y="4391738"/>
            <a:ext cx="151200" cy="15076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0" name="Oval 108">
            <a:extLst>
              <a:ext uri="{FF2B5EF4-FFF2-40B4-BE49-F238E27FC236}">
                <a16:creationId xmlns:a16="http://schemas.microsoft.com/office/drawing/2014/main" id="{10E4A099-FA62-2560-EEB6-A6737D8A4350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1583281" y="3345127"/>
            <a:ext cx="151200" cy="15076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1" name="Oval 109">
            <a:extLst>
              <a:ext uri="{FF2B5EF4-FFF2-40B4-BE49-F238E27FC236}">
                <a16:creationId xmlns:a16="http://schemas.microsoft.com/office/drawing/2014/main" id="{0E3E122D-140B-1FFE-A5A7-A145ECCD1E8D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2395924" y="3482486"/>
            <a:ext cx="151200" cy="1507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2" name="Oval 110">
            <a:extLst>
              <a:ext uri="{FF2B5EF4-FFF2-40B4-BE49-F238E27FC236}">
                <a16:creationId xmlns:a16="http://schemas.microsoft.com/office/drawing/2014/main" id="{44C0429B-D5A4-743A-1FEA-243889D83ED5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2630052" y="4061766"/>
            <a:ext cx="151200" cy="1507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3" name="Oval 111">
            <a:extLst>
              <a:ext uri="{FF2B5EF4-FFF2-40B4-BE49-F238E27FC236}">
                <a16:creationId xmlns:a16="http://schemas.microsoft.com/office/drawing/2014/main" id="{B6D86248-5686-E63B-E612-519D25191C44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>
          <a:xfrm>
            <a:off x="3309187" y="3873654"/>
            <a:ext cx="151200" cy="1507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4" name="Oval 112">
            <a:extLst>
              <a:ext uri="{FF2B5EF4-FFF2-40B4-BE49-F238E27FC236}">
                <a16:creationId xmlns:a16="http://schemas.microsoft.com/office/drawing/2014/main" id="{D7C86847-0FF8-630F-6AA9-358CCD653599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3687928" y="3126592"/>
            <a:ext cx="151200" cy="1507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5" name="Oval 113">
            <a:extLst>
              <a:ext uri="{FF2B5EF4-FFF2-40B4-BE49-F238E27FC236}">
                <a16:creationId xmlns:a16="http://schemas.microsoft.com/office/drawing/2014/main" id="{C0C05270-044A-9BC9-7927-353A74CFA5C6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>
          <a:xfrm>
            <a:off x="4180791" y="2641015"/>
            <a:ext cx="151200" cy="15076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6" name="Oval 114">
            <a:extLst>
              <a:ext uri="{FF2B5EF4-FFF2-40B4-BE49-F238E27FC236}">
                <a16:creationId xmlns:a16="http://schemas.microsoft.com/office/drawing/2014/main" id="{49D91802-8D43-712C-2D33-987F09F5B172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4701946" y="3628938"/>
            <a:ext cx="151200" cy="15076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7" name="Oval 115">
            <a:extLst>
              <a:ext uri="{FF2B5EF4-FFF2-40B4-BE49-F238E27FC236}">
                <a16:creationId xmlns:a16="http://schemas.microsoft.com/office/drawing/2014/main" id="{4CADD679-A12A-CB7A-AB43-7FB21C66920C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5006345" y="4302627"/>
            <a:ext cx="151200" cy="15076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8" name="Oval 116">
            <a:extLst>
              <a:ext uri="{FF2B5EF4-FFF2-40B4-BE49-F238E27FC236}">
                <a16:creationId xmlns:a16="http://schemas.microsoft.com/office/drawing/2014/main" id="{1A9E37A6-E7CA-6D8A-E0F2-A53C003ED25F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>
          <a:xfrm>
            <a:off x="5257684" y="4527899"/>
            <a:ext cx="151200" cy="15076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9" name="Oval 117">
            <a:extLst>
              <a:ext uri="{FF2B5EF4-FFF2-40B4-BE49-F238E27FC236}">
                <a16:creationId xmlns:a16="http://schemas.microsoft.com/office/drawing/2014/main" id="{AE4CC291-DF90-0999-69C8-7F2F4DF97C6B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>
          <a:xfrm>
            <a:off x="5670008" y="3888222"/>
            <a:ext cx="151200" cy="15076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30" name="Oval 118">
            <a:extLst>
              <a:ext uri="{FF2B5EF4-FFF2-40B4-BE49-F238E27FC236}">
                <a16:creationId xmlns:a16="http://schemas.microsoft.com/office/drawing/2014/main" id="{963CC94A-48D7-F6BC-167D-96E18EC98641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>
          <a:xfrm>
            <a:off x="5935516" y="3204796"/>
            <a:ext cx="151200" cy="15076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31" name="Oval 119">
            <a:extLst>
              <a:ext uri="{FF2B5EF4-FFF2-40B4-BE49-F238E27FC236}">
                <a16:creationId xmlns:a16="http://schemas.microsoft.com/office/drawing/2014/main" id="{E34F7B0F-C32C-CF61-ED74-E80A4959F9F5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>
          <a:xfrm>
            <a:off x="6520974" y="2590214"/>
            <a:ext cx="151200" cy="15076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32" name="Subtitle 2">
            <a:extLst>
              <a:ext uri="{FF2B5EF4-FFF2-40B4-BE49-F238E27FC236}">
                <a16:creationId xmlns:a16="http://schemas.microsoft.com/office/drawing/2014/main" id="{497B52B3-B466-288E-258B-393B2AC47AAA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1427636" y="4374787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133" name="Subtitle 2">
            <a:extLst>
              <a:ext uri="{FF2B5EF4-FFF2-40B4-BE49-F238E27FC236}">
                <a16:creationId xmlns:a16="http://schemas.microsoft.com/office/drawing/2014/main" id="{FFD2AD80-FFCE-B8C4-1235-CD5B5BCC9532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2598064" y="3465537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134" name="Subtitle 2">
            <a:extLst>
              <a:ext uri="{FF2B5EF4-FFF2-40B4-BE49-F238E27FC236}">
                <a16:creationId xmlns:a16="http://schemas.microsoft.com/office/drawing/2014/main" id="{468101B4-D20A-0B5F-8BD9-3BF2485E210F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3531786" y="3850352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135" name="Subtitle 2">
            <a:extLst>
              <a:ext uri="{FF2B5EF4-FFF2-40B4-BE49-F238E27FC236}">
                <a16:creationId xmlns:a16="http://schemas.microsoft.com/office/drawing/2014/main" id="{1D18F97B-7D78-E298-2278-B5925F133232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4376924" y="2547866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136" name="Subtitle 2">
            <a:extLst>
              <a:ext uri="{FF2B5EF4-FFF2-40B4-BE49-F238E27FC236}">
                <a16:creationId xmlns:a16="http://schemas.microsoft.com/office/drawing/2014/main" id="{B8534C2F-C09C-4244-EDEC-96D04A7B5444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>
          <a:xfrm>
            <a:off x="3894609" y="3605638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137" name="Subtitle 2">
            <a:extLst>
              <a:ext uri="{FF2B5EF4-FFF2-40B4-BE49-F238E27FC236}">
                <a16:creationId xmlns:a16="http://schemas.microsoft.com/office/drawing/2014/main" id="{99BBF536-7258-6EF5-FCF0-9818C2CF0B54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>
          <a:xfrm>
            <a:off x="5875179" y="3871273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138" name="Subtitle 2">
            <a:extLst>
              <a:ext uri="{FF2B5EF4-FFF2-40B4-BE49-F238E27FC236}">
                <a16:creationId xmlns:a16="http://schemas.microsoft.com/office/drawing/2014/main" id="{4CB29635-5EDD-85F2-BE69-BEC5B03166EE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>
          <a:xfrm>
            <a:off x="6114132" y="3309022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139" name="Subtitle 2">
            <a:extLst>
              <a:ext uri="{FF2B5EF4-FFF2-40B4-BE49-F238E27FC236}">
                <a16:creationId xmlns:a16="http://schemas.microsoft.com/office/drawing/2014/main" id="{157BE1C0-9DDA-1F97-61FE-DF49042073CA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>
          <a:xfrm>
            <a:off x="771983" y="3328176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140" name="Subtitle 2">
            <a:extLst>
              <a:ext uri="{FF2B5EF4-FFF2-40B4-BE49-F238E27FC236}">
                <a16:creationId xmlns:a16="http://schemas.microsoft.com/office/drawing/2014/main" id="{8A9503A9-10D2-BB90-F2F7-18EECD7A4DB1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>
          <a:xfrm>
            <a:off x="1846071" y="4159117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141" name="Subtitle 2">
            <a:extLst>
              <a:ext uri="{FF2B5EF4-FFF2-40B4-BE49-F238E27FC236}">
                <a16:creationId xmlns:a16="http://schemas.microsoft.com/office/drawing/2014/main" id="{69A896F2-B98A-2311-A13A-7F1C1B9D63AF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2858090" y="3047206"/>
            <a:ext cx="741165" cy="184666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142" name="Subtitle 2">
            <a:extLst>
              <a:ext uri="{FF2B5EF4-FFF2-40B4-BE49-F238E27FC236}">
                <a16:creationId xmlns:a16="http://schemas.microsoft.com/office/drawing/2014/main" id="{9E89CFA3-BB60-3789-BA9F-E4ADC014D737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4194108" y="4272978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143" name="Subtitle 2">
            <a:extLst>
              <a:ext uri="{FF2B5EF4-FFF2-40B4-BE49-F238E27FC236}">
                <a16:creationId xmlns:a16="http://schemas.microsoft.com/office/drawing/2014/main" id="{8EB703E2-A678-E961-7D5E-65F491DC8A01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>
          <a:xfrm>
            <a:off x="5432408" y="4656380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144" name="Subtitle 2">
            <a:extLst>
              <a:ext uri="{FF2B5EF4-FFF2-40B4-BE49-F238E27FC236}">
                <a16:creationId xmlns:a16="http://schemas.microsoft.com/office/drawing/2014/main" id="{9FD74ED7-C24D-294B-1B47-A712953A3E4C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>
          <a:xfrm>
            <a:off x="6232686" y="2333607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45" name="Inhaltsplatzhalter 2">
            <a:extLst>
              <a:ext uri="{FF2B5EF4-FFF2-40B4-BE49-F238E27FC236}">
                <a16:creationId xmlns:a16="http://schemas.microsoft.com/office/drawing/2014/main" id="{50617C4B-BAAD-26DF-5F97-9203BF590B93}"/>
              </a:ext>
            </a:extLst>
          </p:cNvPr>
          <p:cNvSpPr txBox="1">
            <a:spLocks/>
          </p:cNvSpPr>
          <p:nvPr/>
        </p:nvSpPr>
        <p:spPr>
          <a:xfrm>
            <a:off x="929527" y="1935638"/>
            <a:ext cx="485171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. 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146" name="Inhaltsplatzhalter 2">
            <a:extLst>
              <a:ext uri="{FF2B5EF4-FFF2-40B4-BE49-F238E27FC236}">
                <a16:creationId xmlns:a16="http://schemas.microsoft.com/office/drawing/2014/main" id="{9C46DA8A-D66E-EFCC-C15F-7543F185AC65}"/>
              </a:ext>
            </a:extLst>
          </p:cNvPr>
          <p:cNvSpPr txBox="1">
            <a:spLocks/>
          </p:cNvSpPr>
          <p:nvPr/>
        </p:nvSpPr>
        <p:spPr>
          <a:xfrm>
            <a:off x="929527" y="5196560"/>
            <a:ext cx="485171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. 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14F9F506-77E0-8014-3BDB-3A264B4E6CE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68049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customers, journeys, process, processes, dashboards</a:t>
            </a:r>
          </a:p>
        </p:txBody>
      </p:sp>
    </p:spTree>
    <p:extLst>
      <p:ext uri="{BB962C8B-B14F-4D97-AF65-F5344CB8AC3E}">
        <p14:creationId xmlns:p14="http://schemas.microsoft.com/office/powerpoint/2010/main" val="37291621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